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51"/>
  </p:notesMasterIdLst>
  <p:sldIdLst>
    <p:sldId id="256" r:id="rId2"/>
    <p:sldId id="330" r:id="rId3"/>
    <p:sldId id="290" r:id="rId4"/>
    <p:sldId id="258" r:id="rId5"/>
    <p:sldId id="294" r:id="rId6"/>
    <p:sldId id="2145705951" r:id="rId7"/>
    <p:sldId id="2145705925" r:id="rId8"/>
    <p:sldId id="2145705952" r:id="rId9"/>
    <p:sldId id="2145705953" r:id="rId10"/>
    <p:sldId id="2145705972" r:id="rId11"/>
    <p:sldId id="2145705977" r:id="rId12"/>
    <p:sldId id="2145705957" r:id="rId13"/>
    <p:sldId id="2145705974" r:id="rId14"/>
    <p:sldId id="2145705981" r:id="rId15"/>
    <p:sldId id="2145705961" r:id="rId16"/>
    <p:sldId id="2145705982" r:id="rId17"/>
    <p:sldId id="2145705962" r:id="rId18"/>
    <p:sldId id="2145705984" r:id="rId19"/>
    <p:sldId id="2145705964" r:id="rId20"/>
    <p:sldId id="2145705966" r:id="rId21"/>
    <p:sldId id="2145705985" r:id="rId22"/>
    <p:sldId id="2145705975" r:id="rId23"/>
    <p:sldId id="2145705967" r:id="rId24"/>
    <p:sldId id="2145705969" r:id="rId25"/>
    <p:sldId id="2145705986" r:id="rId26"/>
    <p:sldId id="2145705970" r:id="rId27"/>
    <p:sldId id="2145705983" r:id="rId28"/>
    <p:sldId id="2145705978" r:id="rId29"/>
    <p:sldId id="2145705987" r:id="rId30"/>
    <p:sldId id="2145705954" r:id="rId31"/>
    <p:sldId id="2145705956" r:id="rId32"/>
    <p:sldId id="2145705988" r:id="rId33"/>
    <p:sldId id="2145705971" r:id="rId34"/>
    <p:sldId id="2145705989" r:id="rId35"/>
    <p:sldId id="2145705979" r:id="rId36"/>
    <p:sldId id="2145705990" r:id="rId37"/>
    <p:sldId id="2145705980" r:id="rId38"/>
    <p:sldId id="2145705991" r:id="rId39"/>
    <p:sldId id="309" r:id="rId40"/>
    <p:sldId id="310" r:id="rId41"/>
    <p:sldId id="311" r:id="rId42"/>
    <p:sldId id="312" r:id="rId43"/>
    <p:sldId id="313" r:id="rId44"/>
    <p:sldId id="314" r:id="rId45"/>
    <p:sldId id="315" r:id="rId46"/>
    <p:sldId id="316" r:id="rId47"/>
    <p:sldId id="317" r:id="rId48"/>
    <p:sldId id="318" r:id="rId49"/>
    <p:sldId id="319" r:id="rId50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354" autoAdjust="0"/>
    <p:restoredTop sz="93702" autoAdjust="0"/>
  </p:normalViewPr>
  <p:slideViewPr>
    <p:cSldViewPr snapToGrid="0">
      <p:cViewPr varScale="1">
        <p:scale>
          <a:sx n="82" d="100"/>
          <a:sy n="82" d="100"/>
        </p:scale>
        <p:origin x="486" y="50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9" Type="http://customschemas.google.com/relationships/presentationmetadata" Target="metadata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ctivities of card(id=12) (Slide 3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.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ctivitie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a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C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ttachments of card (id = 1) (Slide 42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ttachmen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Link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ploa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sCove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ttachment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50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ploa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custom field WITH DROPDOWN TYPE and their field value of specific c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WithCa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Id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TRY_CAST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INT)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FieldItem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WithCa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Field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DROPD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custom field without dropdown type and their field value of specific card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ardId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C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tg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g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g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!= 'DROPDOW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.Category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Types'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options of custom field with dropdown type of specific bo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FieldItem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DROPD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78523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checklist items assigned to the user. (Slide 4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heckLis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tem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tem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i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e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Memb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32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11888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m.UserId = u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dirty="0"/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members of the board(id=1) with permissions (Slide 1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Emai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RolePermiss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Permiss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131047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Toke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ShareLink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Link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p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Permiss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9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members of the board(id=1) with permissions (Slide 1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Emai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RolePermiss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Permiss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4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2938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tting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lect all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Workspace with valu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Cont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Data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Cont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etting workspace(id=7) visibility(value=22, user=7) (Slide 1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visibilit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7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7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thi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for Workspace (Slide 1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.SettingOp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setting keys of user (id=1) with option value (Slide 18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User'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76896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A8551-5EC0-116E-E1DE-2E5BD2F8D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B2FC7-4965-95BE-B86F-82365CC8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D5992D-5612-2A13-DF21-79D76308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tegorie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Design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(category = 'Design', id=22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22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 from board (use templates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b.id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843FA-36BC-CF01-CFF5-DEC846C59E4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0268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0317E-E6EA-636E-3C4A-A718DBFB5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7C573-11F9-0A77-C49A-036EA831A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0B2666-CD48-4C6B-4E4D-2B5439A9C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tegorie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Design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(category = 'Design', id=22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22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 from board (use templates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b.id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077A3-5504-894D-BDF3-EA81F36D88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5608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boards in collection (id = 1) (Slide 52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.Collect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Collec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lections c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.Collec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70626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sticker  (Slide 4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ickers s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tickers of card(id=1) (Slide 4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icker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Stick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s.Stick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s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41393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recent card's activities in the user's card. (Slide 49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AS Boar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DATEDIFF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,ac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GETDATE()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_ago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(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FROM Activities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) a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Workspac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ac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_ag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Activities unread notifications of the user. (Slide 5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ctivitie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Notifications n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Activit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 Users u ON u.Id = a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IsRea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0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Count total number of unread notifications of the user. (Slide 5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COUNT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OfNotification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Notifications 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Activities a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Activit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IsRea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0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73043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94518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3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4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5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6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7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8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9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Board, Stage, C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list Stage of bo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*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Stage(position=3) of bo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*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card of stage(position=1) in board (id=3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ver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rd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37674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members in c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C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card (id=219) of a stage(id=2), board(id=2) (Slide 3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AttachmentC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CardId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attachm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Attachment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GROUP BY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Checklis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checklist_item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i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Loca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rtDat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DueDat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ISNULL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.number_of_attachm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0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attachm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ISNULL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cl.number_of_checklist_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0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checklist_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rd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AttachmentC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Checklis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Label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Labels 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Label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o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219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;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abels of card(id=1) (Slide 3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Colo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Labels 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Label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Label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o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comment of card (id = 1) (Slide 4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nt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men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omment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59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59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reaction of comment's card (id = 104) (Slide 43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Reac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Reactions 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mentReac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.React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mment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.Commen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04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30459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7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69.jp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10" Type="http://schemas.openxmlformats.org/officeDocument/2006/relationships/image" Target="../media/image83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8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69.jp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7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.xml"/><Relationship Id="rId6" Type="http://schemas.openxmlformats.org/officeDocument/2006/relationships/image" Target="../media/image20.jp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6344-2DD6-5B15-51DB-3BA25DC1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70">
            <a:extLst>
              <a:ext uri="{FF2B5EF4-FFF2-40B4-BE49-F238E27FC236}">
                <a16:creationId xmlns:a16="http://schemas.microsoft.com/office/drawing/2014/main" id="{F10684B2-D3FF-6C53-A145-8F7DF51F0BD4}"/>
              </a:ext>
            </a:extLst>
          </p:cNvPr>
          <p:cNvGrpSpPr/>
          <p:nvPr/>
        </p:nvGrpSpPr>
        <p:grpSpPr>
          <a:xfrm>
            <a:off x="5625199" y="1091466"/>
            <a:ext cx="6566801" cy="5766533"/>
            <a:chOff x="5625199" y="1091466"/>
            <a:chExt cx="6566801" cy="576653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9368EFA-393A-0B6E-B9B3-B7E94BDB8D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62107"/>
            <a:stretch>
              <a:fillRect/>
            </a:stretch>
          </p:blipFill>
          <p:spPr>
            <a:xfrm>
              <a:off x="5625199" y="1091466"/>
              <a:ext cx="3406312" cy="5760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FA9C27-3E21-050A-DA30-29505851F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49163"/>
            <a:stretch>
              <a:fillRect/>
            </a:stretch>
          </p:blipFill>
          <p:spPr>
            <a:xfrm>
              <a:off x="7622071" y="1097998"/>
              <a:ext cx="4569929" cy="5760001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AE6E28B-3BDE-D37E-04BD-11A31E566F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2659" r="14236"/>
            <a:stretch>
              <a:fillRect/>
            </a:stretch>
          </p:blipFill>
          <p:spPr>
            <a:xfrm>
              <a:off x="7990201" y="5753727"/>
              <a:ext cx="334815" cy="211382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FB3AE34-8A7C-184E-8B29-00319A358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US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4A5EA9-B194-35D6-CC3F-07A177C28C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98000"/>
            <a:ext cx="4428653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B3F4692-F3C7-D8A5-B14A-9572D3A2CE29}"/>
              </a:ext>
            </a:extLst>
          </p:cNvPr>
          <p:cNvGrpSpPr/>
          <p:nvPr/>
        </p:nvGrpSpPr>
        <p:grpSpPr>
          <a:xfrm>
            <a:off x="753557" y="1633339"/>
            <a:ext cx="3048421" cy="885991"/>
            <a:chOff x="4448434" y="2079846"/>
            <a:chExt cx="3048421" cy="885991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F8865561-F339-C01B-6124-50195F0A8B46}"/>
                </a:ext>
              </a:extLst>
            </p:cNvPr>
            <p:cNvSpPr/>
            <p:nvPr/>
          </p:nvSpPr>
          <p:spPr>
            <a:xfrm>
              <a:off x="5536316" y="2079846"/>
              <a:ext cx="1960539" cy="88599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3699E3C9-8325-78EA-52A0-0789F2DF9F55}"/>
                </a:ext>
              </a:extLst>
            </p:cNvPr>
            <p:cNvCxnSpPr>
              <a:cxnSpLocks/>
              <a:endCxn id="10" idx="1"/>
            </p:cNvCxnSpPr>
            <p:nvPr/>
          </p:nvCxnSpPr>
          <p:spPr>
            <a:xfrm>
              <a:off x="5138251" y="2522842"/>
              <a:ext cx="39806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3EDF065-2598-450B-DB06-E70DC67FBABC}"/>
                </a:ext>
              </a:extLst>
            </p:cNvPr>
            <p:cNvSpPr/>
            <p:nvPr/>
          </p:nvSpPr>
          <p:spPr>
            <a:xfrm>
              <a:off x="4448434" y="2379105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E9DE840-5E18-3AE3-6924-BA99DDE48E48}"/>
              </a:ext>
            </a:extLst>
          </p:cNvPr>
          <p:cNvGrpSpPr/>
          <p:nvPr/>
        </p:nvGrpSpPr>
        <p:grpSpPr>
          <a:xfrm>
            <a:off x="461176" y="2031558"/>
            <a:ext cx="1778328" cy="737512"/>
            <a:chOff x="5066069" y="3926330"/>
            <a:chExt cx="1778328" cy="73751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FAC14C5A-7689-A5B1-CCF8-370C5B839B44}"/>
                </a:ext>
              </a:extLst>
            </p:cNvPr>
            <p:cNvSpPr/>
            <p:nvPr/>
          </p:nvSpPr>
          <p:spPr>
            <a:xfrm>
              <a:off x="6480817" y="3926330"/>
              <a:ext cx="363580" cy="3458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02EED01-B304-CDF2-4D3D-A66B849FD643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044684" y="4272212"/>
              <a:ext cx="617923" cy="2401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D15D913-659E-657C-6572-473ADFBB1A84}"/>
                </a:ext>
              </a:extLst>
            </p:cNvPr>
            <p:cNvSpPr/>
            <p:nvPr/>
          </p:nvSpPr>
          <p:spPr>
            <a:xfrm>
              <a:off x="5066069" y="4376370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A4466FD-F386-5464-2F55-CE44B0113419}"/>
              </a:ext>
            </a:extLst>
          </p:cNvPr>
          <p:cNvGrpSpPr/>
          <p:nvPr/>
        </p:nvGrpSpPr>
        <p:grpSpPr>
          <a:xfrm>
            <a:off x="6607534" y="5140517"/>
            <a:ext cx="1896386" cy="563824"/>
            <a:chOff x="5141605" y="4100018"/>
            <a:chExt cx="1896386" cy="56382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5146C14E-C31B-6EC2-24F5-5531E58AEBF6}"/>
                </a:ext>
              </a:extLst>
            </p:cNvPr>
            <p:cNvSpPr/>
            <p:nvPr/>
          </p:nvSpPr>
          <p:spPr>
            <a:xfrm>
              <a:off x="6480817" y="4100018"/>
              <a:ext cx="557174" cy="17219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AAFD7F62-81E9-8E58-03E8-0B9FEBE3A449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6044684" y="4272211"/>
              <a:ext cx="714720" cy="2401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70EE1AC-39AD-A654-9182-6A1E8B87BA2A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E9397EF-9703-F7B4-23C2-F9A2BE240D36}"/>
              </a:ext>
            </a:extLst>
          </p:cNvPr>
          <p:cNvGrpSpPr/>
          <p:nvPr/>
        </p:nvGrpSpPr>
        <p:grpSpPr>
          <a:xfrm>
            <a:off x="6618149" y="5725006"/>
            <a:ext cx="1782686" cy="563824"/>
            <a:chOff x="5141605" y="4100018"/>
            <a:chExt cx="1782686" cy="563824"/>
          </a:xfrm>
        </p:grpSpPr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61CA6E0F-3823-FB35-E199-E025BEC71A07}"/>
                </a:ext>
              </a:extLst>
            </p:cNvPr>
            <p:cNvCxnSpPr>
              <a:cxnSpLocks/>
              <a:endCxn id="29" idx="1"/>
            </p:cNvCxnSpPr>
            <p:nvPr/>
          </p:nvCxnSpPr>
          <p:spPr>
            <a:xfrm flipV="1">
              <a:off x="6098166" y="4238194"/>
              <a:ext cx="368131" cy="2741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375FAF9-F8E2-B846-E4D6-C219FD031606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C5D78838-E7B7-A194-56BD-6C0ADC48657A}"/>
                </a:ext>
              </a:extLst>
            </p:cNvPr>
            <p:cNvSpPr/>
            <p:nvPr/>
          </p:nvSpPr>
          <p:spPr>
            <a:xfrm>
              <a:off x="6466297" y="4100018"/>
              <a:ext cx="457994" cy="27635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21B21CC-14BB-4484-DA3E-5FEB9D23BD11}"/>
              </a:ext>
            </a:extLst>
          </p:cNvPr>
          <p:cNvGrpSpPr/>
          <p:nvPr/>
        </p:nvGrpSpPr>
        <p:grpSpPr>
          <a:xfrm>
            <a:off x="457593" y="2220070"/>
            <a:ext cx="3344384" cy="1141573"/>
            <a:chOff x="4620017" y="3966363"/>
            <a:chExt cx="3344384" cy="1141573"/>
          </a:xfrm>
        </p:grpSpPr>
        <p:sp>
          <p:nvSpPr>
            <p:cNvPr id="41" name="Google Shape;229;g370fc456c4b_0_4">
              <a:extLst>
                <a:ext uri="{FF2B5EF4-FFF2-40B4-BE49-F238E27FC236}">
                  <a16:creationId xmlns:a16="http://schemas.microsoft.com/office/drawing/2014/main" id="{007FA49F-59B1-06BF-D60F-37F294E96B60}"/>
                </a:ext>
              </a:extLst>
            </p:cNvPr>
            <p:cNvSpPr/>
            <p:nvPr/>
          </p:nvSpPr>
          <p:spPr>
            <a:xfrm>
              <a:off x="6449288" y="3966363"/>
              <a:ext cx="1515113" cy="1573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D849666B-85A7-3873-7A1C-05A08AB14774}"/>
                </a:ext>
              </a:extLst>
            </p:cNvPr>
            <p:cNvCxnSpPr>
              <a:cxnSpLocks/>
              <a:endCxn id="41" idx="2"/>
            </p:cNvCxnSpPr>
            <p:nvPr/>
          </p:nvCxnSpPr>
          <p:spPr>
            <a:xfrm flipV="1">
              <a:off x="5602214" y="4123733"/>
              <a:ext cx="1604631" cy="84046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831B6DBB-5579-5003-1E9F-61C086B6C3C3}"/>
                </a:ext>
              </a:extLst>
            </p:cNvPr>
            <p:cNvSpPr/>
            <p:nvPr/>
          </p:nvSpPr>
          <p:spPr>
            <a:xfrm>
              <a:off x="4620017" y="4820464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mai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5B2BF37D-FAC8-C2BC-A97B-4853CD9B47EC}"/>
              </a:ext>
            </a:extLst>
          </p:cNvPr>
          <p:cNvGrpSpPr/>
          <p:nvPr/>
        </p:nvGrpSpPr>
        <p:grpSpPr>
          <a:xfrm>
            <a:off x="1839510" y="3637498"/>
            <a:ext cx="3785689" cy="516268"/>
            <a:chOff x="1839510" y="3637498"/>
            <a:chExt cx="3785689" cy="516268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D16C37B-D616-826C-B38E-601FA4FF0E91}"/>
                </a:ext>
              </a:extLst>
            </p:cNvPr>
            <p:cNvGrpSpPr/>
            <p:nvPr/>
          </p:nvGrpSpPr>
          <p:grpSpPr>
            <a:xfrm>
              <a:off x="1839622" y="3637498"/>
              <a:ext cx="3785577" cy="163642"/>
              <a:chOff x="6449289" y="3966363"/>
              <a:chExt cx="3785577" cy="163642"/>
            </a:xfrm>
          </p:grpSpPr>
          <p:sp>
            <p:nvSpPr>
              <p:cNvPr id="50" name="Google Shape;229;g370fc456c4b_0_4">
                <a:extLst>
                  <a:ext uri="{FF2B5EF4-FFF2-40B4-BE49-F238E27FC236}">
                    <a16:creationId xmlns:a16="http://schemas.microsoft.com/office/drawing/2014/main" id="{35206193-B468-ECA7-39EF-95128C16ACF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153444" cy="163642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51" name="Google Shape;230;g370fc456c4b_0_4">
                <a:extLst>
                  <a:ext uri="{FF2B5EF4-FFF2-40B4-BE49-F238E27FC236}">
                    <a16:creationId xmlns:a16="http://schemas.microsoft.com/office/drawing/2014/main" id="{1A05D944-F723-173E-8BCF-BD6EA3EBFBC1}"/>
                  </a:ext>
                </a:extLst>
              </p:cNvPr>
              <p:cNvCxnSpPr>
                <a:cxnSpLocks/>
                <a:endCxn id="50" idx="3"/>
              </p:cNvCxnSpPr>
              <p:nvPr/>
            </p:nvCxnSpPr>
            <p:spPr>
              <a:xfrm flipH="1">
                <a:off x="7602733" y="4044407"/>
                <a:ext cx="2632133" cy="3777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8EB2B35E-2786-CC4B-F745-782D3E94C637}"/>
                </a:ext>
              </a:extLst>
            </p:cNvPr>
            <p:cNvSpPr/>
            <p:nvPr/>
          </p:nvSpPr>
          <p:spPr>
            <a:xfrm>
              <a:off x="1839510" y="386629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6F29554-B9C9-138E-BB2D-83C69D9B9655}"/>
              </a:ext>
            </a:extLst>
          </p:cNvPr>
          <p:cNvGrpSpPr/>
          <p:nvPr/>
        </p:nvGrpSpPr>
        <p:grpSpPr>
          <a:xfrm>
            <a:off x="6618149" y="1261366"/>
            <a:ext cx="5334365" cy="5027464"/>
            <a:chOff x="4382094" y="2079846"/>
            <a:chExt cx="5334365" cy="5027464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D51E5475-1E1B-832E-8E9D-8F7B85E868E7}"/>
                </a:ext>
              </a:extLst>
            </p:cNvPr>
            <p:cNvSpPr/>
            <p:nvPr/>
          </p:nvSpPr>
          <p:spPr>
            <a:xfrm>
              <a:off x="5536316" y="2079846"/>
              <a:ext cx="4180143" cy="50274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C4441E5F-13B7-8DCF-6B6E-271774D9C0E9}"/>
                </a:ext>
              </a:extLst>
            </p:cNvPr>
            <p:cNvCxnSpPr>
              <a:cxnSpLocks/>
              <a:stCxn id="64" idx="3"/>
              <a:endCxn id="62" idx="1"/>
            </p:cNvCxnSpPr>
            <p:nvPr/>
          </p:nvCxnSpPr>
          <p:spPr>
            <a:xfrm>
              <a:off x="5071911" y="4593578"/>
              <a:ext cx="46440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2B3B55E5-8983-BC11-1503-D112D0067A5E}"/>
                </a:ext>
              </a:extLst>
            </p:cNvPr>
            <p:cNvSpPr/>
            <p:nvPr/>
          </p:nvSpPr>
          <p:spPr>
            <a:xfrm>
              <a:off x="4382094" y="4449842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469379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7DB1D2-E9D3-ABE8-F09F-ADFC2C36B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3B3BDCB-5D43-6C9B-ED44-97E16EEDEA5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5CA46-0799-DF18-6DCD-7DEF2A68D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CREATE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A474F8-892E-74FA-C94E-2E570E7A76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3045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9EB3FAB-311D-0528-5FB0-5AE9F0017D76}"/>
              </a:ext>
            </a:extLst>
          </p:cNvPr>
          <p:cNvGrpSpPr/>
          <p:nvPr/>
        </p:nvGrpSpPr>
        <p:grpSpPr>
          <a:xfrm>
            <a:off x="2262370" y="3045427"/>
            <a:ext cx="4811315" cy="390529"/>
            <a:chOff x="6286423" y="4048329"/>
            <a:chExt cx="4811315" cy="390529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FBC09F8-CA8F-D180-EA36-63FBB442E60A}"/>
                </a:ext>
              </a:extLst>
            </p:cNvPr>
            <p:cNvSpPr/>
            <p:nvPr/>
          </p:nvSpPr>
          <p:spPr>
            <a:xfrm>
              <a:off x="6286423" y="4048329"/>
              <a:ext cx="3081108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F654FD98-EFCA-6EA6-E4C9-34F5BC646ED2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9367531" y="4243594"/>
              <a:ext cx="303806" cy="714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6D8023C-0A5D-5CD6-B5C9-695EA7DB7541}"/>
                </a:ext>
              </a:extLst>
            </p:cNvPr>
            <p:cNvSpPr/>
            <p:nvPr/>
          </p:nvSpPr>
          <p:spPr>
            <a:xfrm>
              <a:off x="9671337" y="409472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2A2669E-ABC0-5E59-2666-A6FF4555E4C6}"/>
              </a:ext>
            </a:extLst>
          </p:cNvPr>
          <p:cNvGrpSpPr/>
          <p:nvPr/>
        </p:nvGrpSpPr>
        <p:grpSpPr>
          <a:xfrm>
            <a:off x="2298564" y="4618515"/>
            <a:ext cx="5004840" cy="1157064"/>
            <a:chOff x="6308169" y="3994467"/>
            <a:chExt cx="5004840" cy="1157064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1C2780F4-7822-F7CF-B148-82F2D120CA0C}"/>
                </a:ext>
              </a:extLst>
            </p:cNvPr>
            <p:cNvSpPr/>
            <p:nvPr/>
          </p:nvSpPr>
          <p:spPr>
            <a:xfrm>
              <a:off x="6308169" y="3994467"/>
              <a:ext cx="3059362" cy="11570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3C77E46-427A-F406-90C0-00AD28FCE30E}"/>
                </a:ext>
              </a:extLst>
            </p:cNvPr>
            <p:cNvCxnSpPr>
              <a:cxnSpLocks/>
              <a:stCxn id="13" idx="1"/>
              <a:endCxn id="11" idx="3"/>
            </p:cNvCxnSpPr>
            <p:nvPr/>
          </p:nvCxnSpPr>
          <p:spPr>
            <a:xfrm flipH="1">
              <a:off x="9367531" y="4572999"/>
              <a:ext cx="17351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202B56C-9B43-2504-6341-B6D2B2FF6EE9}"/>
                </a:ext>
              </a:extLst>
            </p:cNvPr>
            <p:cNvSpPr/>
            <p:nvPr/>
          </p:nvSpPr>
          <p:spPr>
            <a:xfrm>
              <a:off x="9541050" y="4429263"/>
              <a:ext cx="177195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A1CDEF-12E8-29BE-7846-EE440319EDC0}"/>
              </a:ext>
            </a:extLst>
          </p:cNvPr>
          <p:cNvGrpSpPr/>
          <p:nvPr/>
        </p:nvGrpSpPr>
        <p:grpSpPr>
          <a:xfrm>
            <a:off x="2298563" y="3746552"/>
            <a:ext cx="4775122" cy="599289"/>
            <a:chOff x="6286423" y="3812638"/>
            <a:chExt cx="4775122" cy="59928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2F21F454-3E47-265E-8E66-CBC46E6BCD70}"/>
                </a:ext>
              </a:extLst>
            </p:cNvPr>
            <p:cNvSpPr/>
            <p:nvPr/>
          </p:nvSpPr>
          <p:spPr>
            <a:xfrm>
              <a:off x="6286423" y="4021398"/>
              <a:ext cx="3081107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65B448A7-5A40-D0F0-62EE-8BAB5D7F5363}"/>
                </a:ext>
              </a:extLst>
            </p:cNvPr>
            <p:cNvCxnSpPr>
              <a:cxnSpLocks/>
              <a:stCxn id="17" idx="1"/>
            </p:cNvCxnSpPr>
            <p:nvPr/>
          </p:nvCxnSpPr>
          <p:spPr>
            <a:xfrm flipH="1">
              <a:off x="9331338" y="3956374"/>
              <a:ext cx="303806" cy="6759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F2ECF8E-0D60-5141-05A8-B122F966FAB6}"/>
                </a:ext>
              </a:extLst>
            </p:cNvPr>
            <p:cNvSpPr/>
            <p:nvPr/>
          </p:nvSpPr>
          <p:spPr>
            <a:xfrm>
              <a:off x="9635144" y="3812638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D49CC67-273E-6FA8-F4AD-D1CE0A678E47}"/>
              </a:ext>
            </a:extLst>
          </p:cNvPr>
          <p:cNvGrpSpPr/>
          <p:nvPr/>
        </p:nvGrpSpPr>
        <p:grpSpPr>
          <a:xfrm>
            <a:off x="509247" y="2872891"/>
            <a:ext cx="4870423" cy="2996281"/>
            <a:chOff x="3827606" y="2079846"/>
            <a:chExt cx="4870423" cy="2996281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B81A7870-3B5E-E003-77F0-62AC1864FE3C}"/>
                </a:ext>
              </a:extLst>
            </p:cNvPr>
            <p:cNvSpPr/>
            <p:nvPr/>
          </p:nvSpPr>
          <p:spPr>
            <a:xfrm>
              <a:off x="5536316" y="2079846"/>
              <a:ext cx="3161713" cy="299628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4" name="Google Shape;230;g370fc456c4b_0_4">
              <a:extLst>
                <a:ext uri="{FF2B5EF4-FFF2-40B4-BE49-F238E27FC236}">
                  <a16:creationId xmlns:a16="http://schemas.microsoft.com/office/drawing/2014/main" id="{D8AFB798-AF39-D639-11D4-23EC35EA747D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4955735" y="3577987"/>
              <a:ext cx="58058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2B80F5FF-F44D-18CF-AB51-0AD444BA98D3}"/>
                </a:ext>
              </a:extLst>
            </p:cNvPr>
            <p:cNvSpPr/>
            <p:nvPr/>
          </p:nvSpPr>
          <p:spPr>
            <a:xfrm>
              <a:off x="3827606" y="3434250"/>
              <a:ext cx="112812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7232E8F5-C92F-F4B9-EC4A-3599BCA72F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9694" y="2772016"/>
            <a:ext cx="4363059" cy="2534004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29B314ED-6BA9-7B24-2FDB-14929609D9A1}"/>
              </a:ext>
            </a:extLst>
          </p:cNvPr>
          <p:cNvGrpSpPr/>
          <p:nvPr/>
        </p:nvGrpSpPr>
        <p:grpSpPr>
          <a:xfrm>
            <a:off x="4665086" y="4101939"/>
            <a:ext cx="2638318" cy="544513"/>
            <a:chOff x="1504451" y="3715542"/>
            <a:chExt cx="2638318" cy="544513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6903F66-F488-68FA-35BA-BD98EE80DE17}"/>
                </a:ext>
              </a:extLst>
            </p:cNvPr>
            <p:cNvGrpSpPr/>
            <p:nvPr/>
          </p:nvGrpSpPr>
          <p:grpSpPr>
            <a:xfrm>
              <a:off x="1973026" y="3715542"/>
              <a:ext cx="2169743" cy="125356"/>
              <a:chOff x="6582693" y="4044407"/>
              <a:chExt cx="2169743" cy="125356"/>
            </a:xfrm>
          </p:grpSpPr>
          <p:sp>
            <p:nvSpPr>
              <p:cNvPr id="45" name="Google Shape;229;g370fc456c4b_0_4">
                <a:extLst>
                  <a:ext uri="{FF2B5EF4-FFF2-40B4-BE49-F238E27FC236}">
                    <a16:creationId xmlns:a16="http://schemas.microsoft.com/office/drawing/2014/main" id="{5DF2D59F-DF9D-430F-1E5E-CACF0250295F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46" name="Google Shape;230;g370fc456c4b_0_4">
                <a:extLst>
                  <a:ext uri="{FF2B5EF4-FFF2-40B4-BE49-F238E27FC236}">
                    <a16:creationId xmlns:a16="http://schemas.microsoft.com/office/drawing/2014/main" id="{8DACE944-F68E-9599-45A9-B6CA842999DD}"/>
                  </a:ext>
                </a:extLst>
              </p:cNvPr>
              <p:cNvCxnSpPr>
                <a:cxnSpLocks/>
                <a:endCxn id="45" idx="3"/>
              </p:cNvCxnSpPr>
              <p:nvPr/>
            </p:nvCxnSpPr>
            <p:spPr>
              <a:xfrm flipH="1">
                <a:off x="6717465" y="4085895"/>
                <a:ext cx="2034971" cy="2119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B70AEB4B-4BE5-1B3A-FE5D-9B6A776E830F}"/>
                </a:ext>
              </a:extLst>
            </p:cNvPr>
            <p:cNvSpPr/>
            <p:nvPr/>
          </p:nvSpPr>
          <p:spPr>
            <a:xfrm>
              <a:off x="1504451" y="3972583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6C13382-6E95-2E1A-A75A-71111E86118F}"/>
              </a:ext>
            </a:extLst>
          </p:cNvPr>
          <p:cNvGrpSpPr/>
          <p:nvPr/>
        </p:nvGrpSpPr>
        <p:grpSpPr>
          <a:xfrm>
            <a:off x="7312645" y="1991068"/>
            <a:ext cx="4363059" cy="3328525"/>
            <a:chOff x="5536316" y="1298898"/>
            <a:chExt cx="4363059" cy="3328525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64C11A7B-EAED-16AB-653F-89C22945919B}"/>
                </a:ext>
              </a:extLst>
            </p:cNvPr>
            <p:cNvSpPr/>
            <p:nvPr/>
          </p:nvSpPr>
          <p:spPr>
            <a:xfrm>
              <a:off x="5536316" y="2079846"/>
              <a:ext cx="4363059" cy="25475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3FB1DF1A-5D38-238D-DE2A-23C6691C0091}"/>
                </a:ext>
              </a:extLst>
            </p:cNvPr>
            <p:cNvCxnSpPr>
              <a:cxnSpLocks/>
              <a:stCxn id="58" idx="3"/>
              <a:endCxn id="41" idx="0"/>
            </p:cNvCxnSpPr>
            <p:nvPr/>
          </p:nvCxnSpPr>
          <p:spPr>
            <a:xfrm>
              <a:off x="7041556" y="1442634"/>
              <a:ext cx="683339" cy="6372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E8E27514-5B67-027C-9088-B6CD1D11DE7E}"/>
                </a:ext>
              </a:extLst>
            </p:cNvPr>
            <p:cNvSpPr/>
            <p:nvPr/>
          </p:nvSpPr>
          <p:spPr>
            <a:xfrm>
              <a:off x="5543365" y="1298898"/>
              <a:ext cx="149819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11837C9-BFA9-4331-7CCA-1C8ACEA2F533}"/>
              </a:ext>
            </a:extLst>
          </p:cNvPr>
          <p:cNvGrpSpPr/>
          <p:nvPr/>
        </p:nvGrpSpPr>
        <p:grpSpPr>
          <a:xfrm>
            <a:off x="7400732" y="2877942"/>
            <a:ext cx="3529538" cy="2428078"/>
            <a:chOff x="7998927" y="4048329"/>
            <a:chExt cx="3529538" cy="2428078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188AE749-9C1D-1E92-3B59-F0E874360C89}"/>
                </a:ext>
              </a:extLst>
            </p:cNvPr>
            <p:cNvSpPr/>
            <p:nvPr/>
          </p:nvSpPr>
          <p:spPr>
            <a:xfrm>
              <a:off x="7998927" y="4048329"/>
              <a:ext cx="1368604" cy="24280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91D217D3-C286-BA35-8F46-7CAF1D348452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9367531" y="5262368"/>
              <a:ext cx="43032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5C80BD75-624B-C448-1011-FD1D383FC29B}"/>
                </a:ext>
              </a:extLst>
            </p:cNvPr>
            <p:cNvSpPr/>
            <p:nvPr/>
          </p:nvSpPr>
          <p:spPr>
            <a:xfrm>
              <a:off x="9797854" y="5110210"/>
              <a:ext cx="173061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2193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" name="Group 107">
            <a:extLst>
              <a:ext uri="{FF2B5EF4-FFF2-40B4-BE49-F238E27FC236}">
                <a16:creationId xmlns:a16="http://schemas.microsoft.com/office/drawing/2014/main" id="{3514E9A3-FAC1-51F6-9CFE-4AE1F0FDB408}"/>
              </a:ext>
            </a:extLst>
          </p:cNvPr>
          <p:cNvGrpSpPr/>
          <p:nvPr/>
        </p:nvGrpSpPr>
        <p:grpSpPr>
          <a:xfrm>
            <a:off x="0" y="1098000"/>
            <a:ext cx="12192000" cy="5858751"/>
            <a:chOff x="0" y="1098000"/>
            <a:chExt cx="12192000" cy="5858751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6DA6D29-2AAD-58F8-5BBE-8628CD318908}"/>
                </a:ext>
              </a:extLst>
            </p:cNvPr>
            <p:cNvGrpSpPr/>
            <p:nvPr/>
          </p:nvGrpSpPr>
          <p:grpSpPr>
            <a:xfrm>
              <a:off x="0" y="1098000"/>
              <a:ext cx="12192000" cy="5858751"/>
              <a:chOff x="0" y="1098000"/>
              <a:chExt cx="12192000" cy="5858751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04AF4DA-433C-EB2A-2BE1-1FF9FE9E7D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0" y="1098000"/>
                <a:ext cx="12192000" cy="5858751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8FE79DC-686C-FE47-DF4B-B02C2D13E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60145" y="1098000"/>
                <a:ext cx="292966" cy="292966"/>
              </a:xfrm>
              <a:prstGeom prst="rect">
                <a:avLst/>
              </a:prstGeom>
            </p:spPr>
          </p:pic>
        </p:grp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B0333BA7-F7E9-0839-5D1D-C0B3F2B15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01009" y="1553073"/>
              <a:ext cx="2327720" cy="2692974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DCFC3C7-332E-8A56-80E2-873E73FDA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SCREEN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4CE898-5CF2-7BA5-D631-BC180201383F}"/>
              </a:ext>
            </a:extLst>
          </p:cNvPr>
          <p:cNvGrpSpPr/>
          <p:nvPr/>
        </p:nvGrpSpPr>
        <p:grpSpPr>
          <a:xfrm>
            <a:off x="4067651" y="2139484"/>
            <a:ext cx="1155547" cy="653989"/>
            <a:chOff x="3766475" y="2093833"/>
            <a:chExt cx="1155547" cy="653989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A6421B05-E829-12CF-7159-AA46996D9F42}"/>
                </a:ext>
              </a:extLst>
            </p:cNvPr>
            <p:cNvSpPr/>
            <p:nvPr/>
          </p:nvSpPr>
          <p:spPr>
            <a:xfrm>
              <a:off x="4131428" y="2093833"/>
              <a:ext cx="425643" cy="1266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CEB3D30C-B791-E3E8-CEFE-D2E88B37281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V="1">
              <a:off x="4344250" y="2220471"/>
              <a:ext cx="0" cy="2356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EF38421-6D0C-F46C-3FD0-2539A13A7D4C}"/>
                </a:ext>
              </a:extLst>
            </p:cNvPr>
            <p:cNvSpPr/>
            <p:nvPr/>
          </p:nvSpPr>
          <p:spPr>
            <a:xfrm>
              <a:off x="3766475" y="2460350"/>
              <a:ext cx="115554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llingPlan</a:t>
              </a:r>
              <a:endParaRPr lang="en-US" dirty="0"/>
            </a:p>
          </p:txBody>
        </p:sp>
      </p:grpSp>
      <p:sp>
        <p:nvSpPr>
          <p:cNvPr id="54" name="Google Shape;229;g370fc456c4b_0_4">
            <a:extLst>
              <a:ext uri="{FF2B5EF4-FFF2-40B4-BE49-F238E27FC236}">
                <a16:creationId xmlns:a16="http://schemas.microsoft.com/office/drawing/2014/main" id="{07E7BE94-7458-6C11-F160-A63FAEC71F27}"/>
              </a:ext>
            </a:extLst>
          </p:cNvPr>
          <p:cNvSpPr/>
          <p:nvPr/>
        </p:nvSpPr>
        <p:spPr>
          <a:xfrm>
            <a:off x="4915553" y="2143729"/>
            <a:ext cx="449590" cy="12663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55" name="Google Shape;230;g370fc456c4b_0_4">
            <a:extLst>
              <a:ext uri="{FF2B5EF4-FFF2-40B4-BE49-F238E27FC236}">
                <a16:creationId xmlns:a16="http://schemas.microsoft.com/office/drawing/2014/main" id="{6283B1A8-551F-672F-0A3D-F8ED33000E38}"/>
              </a:ext>
            </a:extLst>
          </p:cNvPr>
          <p:cNvCxnSpPr>
            <a:cxnSpLocks/>
          </p:cNvCxnSpPr>
          <p:nvPr/>
        </p:nvCxnSpPr>
        <p:spPr>
          <a:xfrm flipH="1" flipV="1">
            <a:off x="5369396" y="2195299"/>
            <a:ext cx="279008" cy="21636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EEADE7E-23AA-3C64-071D-59DDF3BC537F}"/>
              </a:ext>
            </a:extLst>
          </p:cNvPr>
          <p:cNvSpPr/>
          <p:nvPr/>
        </p:nvSpPr>
        <p:spPr>
          <a:xfrm>
            <a:off x="5670676" y="2253029"/>
            <a:ext cx="1254909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Value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B1FBF-EBFD-B477-0F50-C5F010680192}"/>
              </a:ext>
            </a:extLst>
          </p:cNvPr>
          <p:cNvGrpSpPr/>
          <p:nvPr/>
        </p:nvGrpSpPr>
        <p:grpSpPr>
          <a:xfrm>
            <a:off x="4400682" y="1366425"/>
            <a:ext cx="1427829" cy="730123"/>
            <a:chOff x="6468933" y="3824186"/>
            <a:chExt cx="1427829" cy="730123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66440CAE-2B1A-F490-442F-F46705850AC2}"/>
                </a:ext>
              </a:extLst>
            </p:cNvPr>
            <p:cNvSpPr/>
            <p:nvPr/>
          </p:nvSpPr>
          <p:spPr>
            <a:xfrm>
              <a:off x="6500854" y="4355580"/>
              <a:ext cx="1363989" cy="1987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2A2BE838-79F0-22B0-7AF2-4961C7942FEC}"/>
                </a:ext>
              </a:extLst>
            </p:cNvPr>
            <p:cNvCxnSpPr>
              <a:cxnSpLocks/>
            </p:cNvCxnSpPr>
            <p:nvPr/>
          </p:nvCxnSpPr>
          <p:spPr>
            <a:xfrm>
              <a:off x="7182848" y="4115903"/>
              <a:ext cx="0" cy="23848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E7EA6A7-7EFF-9AC8-0C4B-CB1C39B3195C}"/>
                </a:ext>
              </a:extLst>
            </p:cNvPr>
            <p:cNvSpPr/>
            <p:nvPr/>
          </p:nvSpPr>
          <p:spPr>
            <a:xfrm>
              <a:off x="6468933" y="3824186"/>
              <a:ext cx="142782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93B99A4-DCB9-41DA-0AD4-281AD993BDF8}"/>
              </a:ext>
            </a:extLst>
          </p:cNvPr>
          <p:cNvGrpSpPr/>
          <p:nvPr/>
        </p:nvGrpSpPr>
        <p:grpSpPr>
          <a:xfrm>
            <a:off x="2826689" y="1851113"/>
            <a:ext cx="1552486" cy="501202"/>
            <a:chOff x="5458157" y="4355580"/>
            <a:chExt cx="1552486" cy="50120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CDA591E2-315A-046E-415C-5DB456625FDB}"/>
                </a:ext>
              </a:extLst>
            </p:cNvPr>
            <p:cNvSpPr/>
            <p:nvPr/>
          </p:nvSpPr>
          <p:spPr>
            <a:xfrm>
              <a:off x="6500855" y="4355580"/>
              <a:ext cx="509788" cy="5012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AC1E67F4-9738-0384-3A20-D8CD1ADA30AB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6231518" y="4601015"/>
              <a:ext cx="269337" cy="516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6F1695D-B3EB-C19E-A8AA-C1557C485ADF}"/>
                </a:ext>
              </a:extLst>
            </p:cNvPr>
            <p:cNvSpPr/>
            <p:nvPr/>
          </p:nvSpPr>
          <p:spPr>
            <a:xfrm>
              <a:off x="5458157" y="4470024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07AE2AD-926B-3123-6805-1C9BAE85CAA2}"/>
              </a:ext>
            </a:extLst>
          </p:cNvPr>
          <p:cNvGrpSpPr/>
          <p:nvPr/>
        </p:nvGrpSpPr>
        <p:grpSpPr>
          <a:xfrm>
            <a:off x="2692458" y="4692738"/>
            <a:ext cx="6462175" cy="974416"/>
            <a:chOff x="4392174" y="2034128"/>
            <a:chExt cx="6462175" cy="974416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7093DA17-1FEE-3366-B708-98A65B10999D}"/>
                </a:ext>
              </a:extLst>
            </p:cNvPr>
            <p:cNvSpPr/>
            <p:nvPr/>
          </p:nvSpPr>
          <p:spPr>
            <a:xfrm>
              <a:off x="5434434" y="2034128"/>
              <a:ext cx="5419915" cy="97441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1E52DB9A-54EB-F887-1034-326FC1D5DC0D}"/>
                </a:ext>
              </a:extLst>
            </p:cNvPr>
            <p:cNvCxnSpPr>
              <a:cxnSpLocks/>
              <a:stCxn id="26" idx="3"/>
              <a:endCxn id="24" idx="1"/>
            </p:cNvCxnSpPr>
            <p:nvPr/>
          </p:nvCxnSpPr>
          <p:spPr>
            <a:xfrm>
              <a:off x="5081991" y="2521336"/>
              <a:ext cx="35244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FCBEB0CD-D15B-8F4A-60A5-F06FBDB6D7AF}"/>
                </a:ext>
              </a:extLst>
            </p:cNvPr>
            <p:cNvSpPr/>
            <p:nvPr/>
          </p:nvSpPr>
          <p:spPr>
            <a:xfrm>
              <a:off x="4392174" y="237760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0517E6C-1D2A-83FA-174F-ECD4604E027B}"/>
              </a:ext>
            </a:extLst>
          </p:cNvPr>
          <p:cNvGrpSpPr/>
          <p:nvPr/>
        </p:nvGrpSpPr>
        <p:grpSpPr>
          <a:xfrm>
            <a:off x="2692457" y="3164814"/>
            <a:ext cx="4590846" cy="912756"/>
            <a:chOff x="4392173" y="2034128"/>
            <a:chExt cx="4590846" cy="912756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20C178A1-A7AE-3498-49BD-B70409F98295}"/>
                </a:ext>
              </a:extLst>
            </p:cNvPr>
            <p:cNvSpPr/>
            <p:nvPr/>
          </p:nvSpPr>
          <p:spPr>
            <a:xfrm>
              <a:off x="5434435" y="2034128"/>
              <a:ext cx="3548584" cy="91275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EA9CFB37-9A23-4A7F-55C6-9E6E7CAA0A96}"/>
                </a:ext>
              </a:extLst>
            </p:cNvPr>
            <p:cNvCxnSpPr>
              <a:cxnSpLocks/>
              <a:stCxn id="43" idx="3"/>
              <a:endCxn id="37" idx="1"/>
            </p:cNvCxnSpPr>
            <p:nvPr/>
          </p:nvCxnSpPr>
          <p:spPr>
            <a:xfrm>
              <a:off x="5081990" y="2490506"/>
              <a:ext cx="35244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9AE45405-51DF-26B4-660C-D527339408F4}"/>
                </a:ext>
              </a:extLst>
            </p:cNvPr>
            <p:cNvSpPr/>
            <p:nvPr/>
          </p:nvSpPr>
          <p:spPr>
            <a:xfrm>
              <a:off x="4392173" y="234677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CE0CA2C-52BE-10CD-8A70-464DC489E1C0}"/>
              </a:ext>
            </a:extLst>
          </p:cNvPr>
          <p:cNvGrpSpPr/>
          <p:nvPr/>
        </p:nvGrpSpPr>
        <p:grpSpPr>
          <a:xfrm>
            <a:off x="2644992" y="2807955"/>
            <a:ext cx="2173595" cy="301100"/>
            <a:chOff x="4344708" y="2034128"/>
            <a:chExt cx="2173595" cy="301100"/>
          </a:xfrm>
        </p:grpSpPr>
        <p:sp>
          <p:nvSpPr>
            <p:cNvPr id="49" name="Google Shape;229;g370fc456c4b_0_4">
              <a:extLst>
                <a:ext uri="{FF2B5EF4-FFF2-40B4-BE49-F238E27FC236}">
                  <a16:creationId xmlns:a16="http://schemas.microsoft.com/office/drawing/2014/main" id="{751B70F9-1F72-535D-9C14-AB13E3B7A3B0}"/>
                </a:ext>
              </a:extLst>
            </p:cNvPr>
            <p:cNvSpPr/>
            <p:nvPr/>
          </p:nvSpPr>
          <p:spPr>
            <a:xfrm>
              <a:off x="5434435" y="2034128"/>
              <a:ext cx="1083868" cy="29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0" name="Google Shape;230;g370fc456c4b_0_4">
              <a:extLst>
                <a:ext uri="{FF2B5EF4-FFF2-40B4-BE49-F238E27FC236}">
                  <a16:creationId xmlns:a16="http://schemas.microsoft.com/office/drawing/2014/main" id="{8FF78BB0-A976-60D7-E9C3-35834F20E848}"/>
                </a:ext>
              </a:extLst>
            </p:cNvPr>
            <p:cNvCxnSpPr>
              <a:cxnSpLocks/>
              <a:stCxn id="51" idx="3"/>
              <a:endCxn id="49" idx="1"/>
            </p:cNvCxnSpPr>
            <p:nvPr/>
          </p:nvCxnSpPr>
          <p:spPr>
            <a:xfrm flipV="1">
              <a:off x="5034525" y="2182865"/>
              <a:ext cx="399910" cy="862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E503654B-0C51-0444-EB11-26562DFD150E}"/>
                </a:ext>
              </a:extLst>
            </p:cNvPr>
            <p:cNvSpPr/>
            <p:nvPr/>
          </p:nvSpPr>
          <p:spPr>
            <a:xfrm>
              <a:off x="4344708" y="204775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0DDB93C-1B10-CDB7-78B3-5D0A7A893A0D}"/>
              </a:ext>
            </a:extLst>
          </p:cNvPr>
          <p:cNvGrpSpPr/>
          <p:nvPr/>
        </p:nvGrpSpPr>
        <p:grpSpPr>
          <a:xfrm>
            <a:off x="2378719" y="4319843"/>
            <a:ext cx="3291957" cy="301085"/>
            <a:chOff x="4100564" y="2034128"/>
            <a:chExt cx="3291957" cy="301085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2CCF38B-1F88-A7C7-FC37-B777A13DC1BA}"/>
                </a:ext>
              </a:extLst>
            </p:cNvPr>
            <p:cNvSpPr/>
            <p:nvPr/>
          </p:nvSpPr>
          <p:spPr>
            <a:xfrm>
              <a:off x="5434435" y="2034128"/>
              <a:ext cx="1958086" cy="3010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8BCAB4BA-FF62-994A-4B8F-E7EE93AC6781}"/>
                </a:ext>
              </a:extLst>
            </p:cNvPr>
            <p:cNvCxnSpPr>
              <a:cxnSpLocks/>
              <a:endCxn id="59" idx="1"/>
            </p:cNvCxnSpPr>
            <p:nvPr/>
          </p:nvCxnSpPr>
          <p:spPr>
            <a:xfrm>
              <a:off x="5104119" y="2184671"/>
              <a:ext cx="33031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F5BDDEAE-FBB6-82F4-1318-1692F082E189}"/>
                </a:ext>
              </a:extLst>
            </p:cNvPr>
            <p:cNvSpPr/>
            <p:nvPr/>
          </p:nvSpPr>
          <p:spPr>
            <a:xfrm>
              <a:off x="4100564" y="2040934"/>
              <a:ext cx="100355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FE9A5EB-8996-6C1B-902F-747AAD4FBC04}"/>
              </a:ext>
            </a:extLst>
          </p:cNvPr>
          <p:cNvGrpSpPr/>
          <p:nvPr/>
        </p:nvGrpSpPr>
        <p:grpSpPr>
          <a:xfrm>
            <a:off x="7383070" y="5343585"/>
            <a:ext cx="2843378" cy="287472"/>
            <a:chOff x="6436472" y="3945088"/>
            <a:chExt cx="2843378" cy="287472"/>
          </a:xfrm>
        </p:grpSpPr>
        <p:sp>
          <p:nvSpPr>
            <p:cNvPr id="83" name="Google Shape;229;g370fc456c4b_0_4">
              <a:extLst>
                <a:ext uri="{FF2B5EF4-FFF2-40B4-BE49-F238E27FC236}">
                  <a16:creationId xmlns:a16="http://schemas.microsoft.com/office/drawing/2014/main" id="{9D25EDA4-B1F2-A5B5-BFF5-2CBD36E747EF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4" name="Google Shape;230;g370fc456c4b_0_4">
              <a:extLst>
                <a:ext uri="{FF2B5EF4-FFF2-40B4-BE49-F238E27FC236}">
                  <a16:creationId xmlns:a16="http://schemas.microsoft.com/office/drawing/2014/main" id="{C819A64C-7FAE-4150-B3D7-BB6E68B0AC67}"/>
                </a:ext>
              </a:extLst>
            </p:cNvPr>
            <p:cNvCxnSpPr>
              <a:cxnSpLocks/>
              <a:endCxn id="83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1640963-18D1-48FB-3460-83BD8FFF4BB6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D7BF80-50B5-4A9C-BA3C-229595BD9FB6}"/>
              </a:ext>
            </a:extLst>
          </p:cNvPr>
          <p:cNvGrpSpPr/>
          <p:nvPr/>
        </p:nvGrpSpPr>
        <p:grpSpPr>
          <a:xfrm>
            <a:off x="7383071" y="4711685"/>
            <a:ext cx="3290246" cy="602217"/>
            <a:chOff x="6364327" y="3994467"/>
            <a:chExt cx="3290246" cy="602217"/>
          </a:xfrm>
        </p:grpSpPr>
        <p:sp>
          <p:nvSpPr>
            <p:cNvPr id="87" name="Google Shape;229;g370fc456c4b_0_4">
              <a:extLst>
                <a:ext uri="{FF2B5EF4-FFF2-40B4-BE49-F238E27FC236}">
                  <a16:creationId xmlns:a16="http://schemas.microsoft.com/office/drawing/2014/main" id="{744C41B1-D7EA-E2BE-64B9-39A566FB4770}"/>
                </a:ext>
              </a:extLst>
            </p:cNvPr>
            <p:cNvSpPr/>
            <p:nvPr/>
          </p:nvSpPr>
          <p:spPr>
            <a:xfrm>
              <a:off x="6364327" y="3994467"/>
              <a:ext cx="1647440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8" name="Google Shape;230;g370fc456c4b_0_4">
              <a:extLst>
                <a:ext uri="{FF2B5EF4-FFF2-40B4-BE49-F238E27FC236}">
                  <a16:creationId xmlns:a16="http://schemas.microsoft.com/office/drawing/2014/main" id="{DA3699BB-D8BE-419D-206C-7FA0161EE2EB}"/>
                </a:ext>
              </a:extLst>
            </p:cNvPr>
            <p:cNvCxnSpPr>
              <a:cxnSpLocks/>
              <a:endCxn id="87" idx="3"/>
            </p:cNvCxnSpPr>
            <p:nvPr/>
          </p:nvCxnSpPr>
          <p:spPr>
            <a:xfrm flipH="1">
              <a:off x="8011767" y="4295576"/>
              <a:ext cx="26177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B904C7E8-5F89-5475-8ACF-4DB3102509E4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C0B2C4A-F092-A484-2D73-7F79D63CF60D}"/>
              </a:ext>
            </a:extLst>
          </p:cNvPr>
          <p:cNvGrpSpPr/>
          <p:nvPr/>
        </p:nvGrpSpPr>
        <p:grpSpPr>
          <a:xfrm>
            <a:off x="8149289" y="4198470"/>
            <a:ext cx="1143000" cy="1033235"/>
            <a:chOff x="6167482" y="3142125"/>
            <a:chExt cx="1143000" cy="1033235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4A26287B-0BF6-5E35-47AA-CF180445BBEA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F9A553B4-5B4A-139B-A017-7236D399347D}"/>
                </a:ext>
              </a:extLst>
            </p:cNvPr>
            <p:cNvCxnSpPr>
              <a:cxnSpLocks/>
              <a:stCxn id="94" idx="2"/>
              <a:endCxn id="92" idx="0"/>
            </p:cNvCxnSpPr>
            <p:nvPr/>
          </p:nvCxnSpPr>
          <p:spPr>
            <a:xfrm>
              <a:off x="6738982" y="3429597"/>
              <a:ext cx="1" cy="56487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E6DE0C48-C0C4-C271-81C3-78DF7C5E23A0}"/>
                </a:ext>
              </a:extLst>
            </p:cNvPr>
            <p:cNvSpPr/>
            <p:nvPr/>
          </p:nvSpPr>
          <p:spPr>
            <a:xfrm>
              <a:off x="6167482" y="3142125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4FC4199-4335-E39D-CDBA-592301AA5205}"/>
              </a:ext>
            </a:extLst>
          </p:cNvPr>
          <p:cNvGrpSpPr/>
          <p:nvPr/>
        </p:nvGrpSpPr>
        <p:grpSpPr>
          <a:xfrm>
            <a:off x="5833718" y="1688537"/>
            <a:ext cx="3767291" cy="401744"/>
            <a:chOff x="1973026" y="3439154"/>
            <a:chExt cx="3767291" cy="401744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D1B7D468-FD95-07AB-9DAE-6D2358C71CCB}"/>
                </a:ext>
              </a:extLst>
            </p:cNvPr>
            <p:cNvGrpSpPr/>
            <p:nvPr/>
          </p:nvGrpSpPr>
          <p:grpSpPr>
            <a:xfrm>
              <a:off x="1973026" y="3715542"/>
              <a:ext cx="3767291" cy="125356"/>
              <a:chOff x="6582693" y="4044407"/>
              <a:chExt cx="3767291" cy="125356"/>
            </a:xfrm>
          </p:grpSpPr>
          <p:sp>
            <p:nvSpPr>
              <p:cNvPr id="104" name="Google Shape;229;g370fc456c4b_0_4">
                <a:extLst>
                  <a:ext uri="{FF2B5EF4-FFF2-40B4-BE49-F238E27FC236}">
                    <a16:creationId xmlns:a16="http://schemas.microsoft.com/office/drawing/2014/main" id="{C3115BCC-6BA1-5282-CC4B-4130F3B39172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105" name="Google Shape;230;g370fc456c4b_0_4">
                <a:extLst>
                  <a:ext uri="{FF2B5EF4-FFF2-40B4-BE49-F238E27FC236}">
                    <a16:creationId xmlns:a16="http://schemas.microsoft.com/office/drawing/2014/main" id="{F133699D-21EB-7934-9E79-86E3661061DE}"/>
                  </a:ext>
                </a:extLst>
              </p:cNvPr>
              <p:cNvCxnSpPr>
                <a:cxnSpLocks/>
                <a:endCxn id="104" idx="3"/>
              </p:cNvCxnSpPr>
              <p:nvPr/>
            </p:nvCxnSpPr>
            <p:spPr>
              <a:xfrm flipH="1">
                <a:off x="6717465" y="4096473"/>
                <a:ext cx="3632519" cy="1061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58BC790-63BC-D45A-441F-F39617F90A99}"/>
                </a:ext>
              </a:extLst>
            </p:cNvPr>
            <p:cNvSpPr/>
            <p:nvPr/>
          </p:nvSpPr>
          <p:spPr>
            <a:xfrm>
              <a:off x="2184022" y="343915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2371837-BD45-9192-1787-ED61C71FC7B6}"/>
              </a:ext>
            </a:extLst>
          </p:cNvPr>
          <p:cNvGrpSpPr/>
          <p:nvPr/>
        </p:nvGrpSpPr>
        <p:grpSpPr>
          <a:xfrm>
            <a:off x="7837319" y="1569432"/>
            <a:ext cx="3870685" cy="2195495"/>
            <a:chOff x="4253063" y="1821062"/>
            <a:chExt cx="3870685" cy="2195495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E414DDEF-74DE-6572-20C8-A9897084DCEE}"/>
                </a:ext>
              </a:extLst>
            </p:cNvPr>
            <p:cNvSpPr/>
            <p:nvPr/>
          </p:nvSpPr>
          <p:spPr>
            <a:xfrm>
              <a:off x="6151525" y="1831018"/>
              <a:ext cx="1972223" cy="21855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1B571EAF-895C-73F3-1D8D-37EA12DD072A}"/>
                </a:ext>
              </a:extLst>
            </p:cNvPr>
            <p:cNvCxnSpPr>
              <a:cxnSpLocks/>
              <a:stCxn id="8" idx="3"/>
            </p:cNvCxnSpPr>
            <p:nvPr/>
          </p:nvCxnSpPr>
          <p:spPr>
            <a:xfrm>
              <a:off x="5459657" y="1964798"/>
              <a:ext cx="705720" cy="105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05B147-E071-78F2-DC68-FD7E13ADC69A}"/>
                </a:ext>
              </a:extLst>
            </p:cNvPr>
            <p:cNvSpPr/>
            <p:nvPr/>
          </p:nvSpPr>
          <p:spPr>
            <a:xfrm>
              <a:off x="4253063" y="1821062"/>
              <a:ext cx="120659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FF02E566-5D00-5CC9-6F39-0DB638D83F22}"/>
              </a:ext>
            </a:extLst>
          </p:cNvPr>
          <p:cNvGrpSpPr/>
          <p:nvPr/>
        </p:nvGrpSpPr>
        <p:grpSpPr>
          <a:xfrm>
            <a:off x="172633" y="2219276"/>
            <a:ext cx="1471622" cy="4638723"/>
            <a:chOff x="5536317" y="1570140"/>
            <a:chExt cx="1471622" cy="4638723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234BAC16-1F41-244B-415A-59A1FF822E20}"/>
                </a:ext>
              </a:extLst>
            </p:cNvPr>
            <p:cNvSpPr/>
            <p:nvPr/>
          </p:nvSpPr>
          <p:spPr>
            <a:xfrm>
              <a:off x="5536317" y="2158818"/>
              <a:ext cx="1471622" cy="4050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8C6FCBBB-DF94-892A-567D-516394535814}"/>
                </a:ext>
              </a:extLst>
            </p:cNvPr>
            <p:cNvCxnSpPr>
              <a:cxnSpLocks/>
              <a:stCxn id="119" idx="2"/>
              <a:endCxn id="117" idx="0"/>
            </p:cNvCxnSpPr>
            <p:nvPr/>
          </p:nvCxnSpPr>
          <p:spPr>
            <a:xfrm flipH="1">
              <a:off x="6272128" y="1857612"/>
              <a:ext cx="1905" cy="30120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5253520E-F35D-5F43-8124-FE630FDE0865}"/>
                </a:ext>
              </a:extLst>
            </p:cNvPr>
            <p:cNvSpPr/>
            <p:nvPr/>
          </p:nvSpPr>
          <p:spPr>
            <a:xfrm>
              <a:off x="5712294" y="1570140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6826C44-64E2-A159-11F2-2F84270224C5}"/>
              </a:ext>
            </a:extLst>
          </p:cNvPr>
          <p:cNvGrpSpPr/>
          <p:nvPr/>
        </p:nvGrpSpPr>
        <p:grpSpPr>
          <a:xfrm>
            <a:off x="8040567" y="1827957"/>
            <a:ext cx="2710344" cy="682510"/>
            <a:chOff x="4807513" y="4355580"/>
            <a:chExt cx="2710344" cy="682510"/>
          </a:xfrm>
        </p:grpSpPr>
        <p:sp>
          <p:nvSpPr>
            <p:cNvPr id="133" name="Google Shape;229;g370fc456c4b_0_4">
              <a:extLst>
                <a:ext uri="{FF2B5EF4-FFF2-40B4-BE49-F238E27FC236}">
                  <a16:creationId xmlns:a16="http://schemas.microsoft.com/office/drawing/2014/main" id="{A989FD9B-7677-4C31-F086-3C4C3B7BE512}"/>
                </a:ext>
              </a:extLst>
            </p:cNvPr>
            <p:cNvSpPr/>
            <p:nvPr/>
          </p:nvSpPr>
          <p:spPr>
            <a:xfrm>
              <a:off x="6568400" y="4355580"/>
              <a:ext cx="949457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4" name="Google Shape;230;g370fc456c4b_0_4">
              <a:extLst>
                <a:ext uri="{FF2B5EF4-FFF2-40B4-BE49-F238E27FC236}">
                  <a16:creationId xmlns:a16="http://schemas.microsoft.com/office/drawing/2014/main" id="{147FB550-6BA9-6CDD-4530-805B89AC1F9A}"/>
                </a:ext>
              </a:extLst>
            </p:cNvPr>
            <p:cNvCxnSpPr>
              <a:cxnSpLocks/>
              <a:stCxn id="135" idx="3"/>
              <a:endCxn id="133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5" name="Rectangle: Rounded Corners 134">
              <a:extLst>
                <a:ext uri="{FF2B5EF4-FFF2-40B4-BE49-F238E27FC236}">
                  <a16:creationId xmlns:a16="http://schemas.microsoft.com/office/drawing/2014/main" id="{354262AC-D91D-26EC-C5C9-F3C2C8F5569B}"/>
                </a:ext>
              </a:extLst>
            </p:cNvPr>
            <p:cNvSpPr/>
            <p:nvPr/>
          </p:nvSpPr>
          <p:spPr>
            <a:xfrm>
              <a:off x="4807513" y="4750618"/>
              <a:ext cx="141225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6CD4AEFB-19E0-38FF-ED90-C97F19C614D7}"/>
              </a:ext>
            </a:extLst>
          </p:cNvPr>
          <p:cNvGrpSpPr/>
          <p:nvPr/>
        </p:nvGrpSpPr>
        <p:grpSpPr>
          <a:xfrm>
            <a:off x="8462624" y="2371069"/>
            <a:ext cx="2449003" cy="682510"/>
            <a:chOff x="5176698" y="4355580"/>
            <a:chExt cx="2449003" cy="682510"/>
          </a:xfrm>
        </p:grpSpPr>
        <p:sp>
          <p:nvSpPr>
            <p:cNvPr id="141" name="Google Shape;229;g370fc456c4b_0_4">
              <a:extLst>
                <a:ext uri="{FF2B5EF4-FFF2-40B4-BE49-F238E27FC236}">
                  <a16:creationId xmlns:a16="http://schemas.microsoft.com/office/drawing/2014/main" id="{D31BFD73-1E83-E54F-0F18-9AECF522B107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2" name="Google Shape;230;g370fc456c4b_0_4">
              <a:extLst>
                <a:ext uri="{FF2B5EF4-FFF2-40B4-BE49-F238E27FC236}">
                  <a16:creationId xmlns:a16="http://schemas.microsoft.com/office/drawing/2014/main" id="{65A8F063-3E29-B6EB-0DE7-5FD0D0A5F1D4}"/>
                </a:ext>
              </a:extLst>
            </p:cNvPr>
            <p:cNvCxnSpPr>
              <a:cxnSpLocks/>
              <a:stCxn id="143" idx="3"/>
              <a:endCxn id="141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FBB3CDCB-7700-4019-F372-8513716E4FF7}"/>
                </a:ext>
              </a:extLst>
            </p:cNvPr>
            <p:cNvSpPr/>
            <p:nvPr/>
          </p:nvSpPr>
          <p:spPr>
            <a:xfrm>
              <a:off x="5176698" y="4750618"/>
              <a:ext cx="104306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AEB3C4-5DAF-F7A5-2289-3BDF457557AC}"/>
              </a:ext>
            </a:extLst>
          </p:cNvPr>
          <p:cNvGrpSpPr/>
          <p:nvPr/>
        </p:nvGrpSpPr>
        <p:grpSpPr>
          <a:xfrm>
            <a:off x="8659854" y="2805153"/>
            <a:ext cx="2179558" cy="682510"/>
            <a:chOff x="5446143" y="4355580"/>
            <a:chExt cx="2179558" cy="682510"/>
          </a:xfrm>
        </p:grpSpPr>
        <p:sp>
          <p:nvSpPr>
            <p:cNvPr id="147" name="Google Shape;229;g370fc456c4b_0_4">
              <a:extLst>
                <a:ext uri="{FF2B5EF4-FFF2-40B4-BE49-F238E27FC236}">
                  <a16:creationId xmlns:a16="http://schemas.microsoft.com/office/drawing/2014/main" id="{2A7FE5E4-32B3-680F-AB4D-D2EABE2ECF40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8" name="Google Shape;230;g370fc456c4b_0_4">
              <a:extLst>
                <a:ext uri="{FF2B5EF4-FFF2-40B4-BE49-F238E27FC236}">
                  <a16:creationId xmlns:a16="http://schemas.microsoft.com/office/drawing/2014/main" id="{9611EDB8-E947-A0C9-BC1F-6BED7328F5EE}"/>
                </a:ext>
              </a:extLst>
            </p:cNvPr>
            <p:cNvCxnSpPr>
              <a:cxnSpLocks/>
              <a:stCxn id="149" idx="3"/>
              <a:endCxn id="147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2725774D-04AE-EFC8-831C-99EB1C4C4B7A}"/>
                </a:ext>
              </a:extLst>
            </p:cNvPr>
            <p:cNvSpPr/>
            <p:nvPr/>
          </p:nvSpPr>
          <p:spPr>
            <a:xfrm>
              <a:off x="5446143" y="4750618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si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7AADF23E-8530-A7C1-03C9-5B8929519867}"/>
              </a:ext>
            </a:extLst>
          </p:cNvPr>
          <p:cNvGrpSpPr/>
          <p:nvPr/>
        </p:nvGrpSpPr>
        <p:grpSpPr>
          <a:xfrm>
            <a:off x="7686076" y="3341212"/>
            <a:ext cx="3172679" cy="682510"/>
            <a:chOff x="4453022" y="4355580"/>
            <a:chExt cx="3172679" cy="682510"/>
          </a:xfrm>
        </p:grpSpPr>
        <p:sp>
          <p:nvSpPr>
            <p:cNvPr id="151" name="Google Shape;229;g370fc456c4b_0_4">
              <a:extLst>
                <a:ext uri="{FF2B5EF4-FFF2-40B4-BE49-F238E27FC236}">
                  <a16:creationId xmlns:a16="http://schemas.microsoft.com/office/drawing/2014/main" id="{221229F1-5EA4-12BA-4FCA-9F7C3906BB20}"/>
                </a:ext>
              </a:extLst>
            </p:cNvPr>
            <p:cNvSpPr/>
            <p:nvPr/>
          </p:nvSpPr>
          <p:spPr>
            <a:xfrm>
              <a:off x="6568400" y="4355580"/>
              <a:ext cx="1057301" cy="39503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2" name="Google Shape;230;g370fc456c4b_0_4">
              <a:extLst>
                <a:ext uri="{FF2B5EF4-FFF2-40B4-BE49-F238E27FC236}">
                  <a16:creationId xmlns:a16="http://schemas.microsoft.com/office/drawing/2014/main" id="{F20E8DFA-C20C-F9B2-E315-8C46C7567ED8}"/>
                </a:ext>
              </a:extLst>
            </p:cNvPr>
            <p:cNvCxnSpPr>
              <a:cxnSpLocks/>
              <a:stCxn id="153" idx="3"/>
              <a:endCxn id="151" idx="1"/>
            </p:cNvCxnSpPr>
            <p:nvPr/>
          </p:nvCxnSpPr>
          <p:spPr>
            <a:xfrm flipV="1">
              <a:off x="6219767" y="4553099"/>
              <a:ext cx="348633" cy="3412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id="{94F18E54-5CD2-0B29-7C46-F246C03736E6}"/>
                </a:ext>
              </a:extLst>
            </p:cNvPr>
            <p:cNvSpPr/>
            <p:nvPr/>
          </p:nvSpPr>
          <p:spPr>
            <a:xfrm>
              <a:off x="4453022" y="4750618"/>
              <a:ext cx="176674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0432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2521A-EBB9-A851-4CFD-DDEAF1206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8085C5A-E8DC-7FEA-1C89-35937A532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7609"/>
            <a:ext cx="12192000" cy="608277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BC3DB22-7EDA-7662-4DF6-C63AEBBA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REATE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5F26CC-E469-252D-5047-4A9BCD382393}"/>
              </a:ext>
            </a:extLst>
          </p:cNvPr>
          <p:cNvGrpSpPr/>
          <p:nvPr/>
        </p:nvGrpSpPr>
        <p:grpSpPr>
          <a:xfrm>
            <a:off x="7392534" y="1057940"/>
            <a:ext cx="1570712" cy="624356"/>
            <a:chOff x="737994" y="3669145"/>
            <a:chExt cx="1570712" cy="624356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0BB24CAF-C202-6E1F-4C9D-E44EA70433C2}"/>
                </a:ext>
              </a:extLst>
            </p:cNvPr>
            <p:cNvSpPr/>
            <p:nvPr/>
          </p:nvSpPr>
          <p:spPr>
            <a:xfrm>
              <a:off x="1799737" y="3669145"/>
              <a:ext cx="508969" cy="229720"/>
            </a:xfrm>
            <a:prstGeom prst="rect">
              <a:avLst/>
            </a:prstGeom>
            <a:noFill/>
            <a:ln w="28575" cap="flat" cmpd="sng">
              <a:solidFill>
                <a:srgbClr val="FFC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3E383127-B1D3-81B3-8A93-59A65FC3B7AC}"/>
                </a:ext>
              </a:extLst>
            </p:cNvPr>
            <p:cNvSpPr/>
            <p:nvPr/>
          </p:nvSpPr>
          <p:spPr>
            <a:xfrm>
              <a:off x="737994" y="4006029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CE6CA9CF-4AA0-8CE4-1A37-D5DC5F4B7D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5302" y="3061886"/>
            <a:ext cx="1426402" cy="147182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B9092BC-9842-C3F3-CBE7-428369978B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865" y="5466316"/>
            <a:ext cx="1929867" cy="1471829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33AB584B-B38E-4315-9613-9D6C1D0C011E}"/>
              </a:ext>
            </a:extLst>
          </p:cNvPr>
          <p:cNvGrpSpPr/>
          <p:nvPr/>
        </p:nvGrpSpPr>
        <p:grpSpPr>
          <a:xfrm>
            <a:off x="6877539" y="1347107"/>
            <a:ext cx="3991088" cy="4000303"/>
            <a:chOff x="4141423" y="2079846"/>
            <a:chExt cx="3991088" cy="4000303"/>
          </a:xfrm>
        </p:grpSpPr>
        <p:sp>
          <p:nvSpPr>
            <p:cNvPr id="45" name="Google Shape;229;g370fc456c4b_0_4">
              <a:extLst>
                <a:ext uri="{FF2B5EF4-FFF2-40B4-BE49-F238E27FC236}">
                  <a16:creationId xmlns:a16="http://schemas.microsoft.com/office/drawing/2014/main" id="{47D5E0F6-A3F3-4ADF-5D36-E69118D239E3}"/>
                </a:ext>
              </a:extLst>
            </p:cNvPr>
            <p:cNvSpPr/>
            <p:nvPr/>
          </p:nvSpPr>
          <p:spPr>
            <a:xfrm>
              <a:off x="5672933" y="2079846"/>
              <a:ext cx="2459578" cy="400030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6" name="Google Shape;230;g370fc456c4b_0_4">
              <a:extLst>
                <a:ext uri="{FF2B5EF4-FFF2-40B4-BE49-F238E27FC236}">
                  <a16:creationId xmlns:a16="http://schemas.microsoft.com/office/drawing/2014/main" id="{EF21BE2C-DD4F-0F02-D847-0627EE645DB9}"/>
                </a:ext>
              </a:extLst>
            </p:cNvPr>
            <p:cNvCxnSpPr>
              <a:cxnSpLocks/>
              <a:endCxn id="45" idx="1"/>
            </p:cNvCxnSpPr>
            <p:nvPr/>
          </p:nvCxnSpPr>
          <p:spPr>
            <a:xfrm>
              <a:off x="4831240" y="2919913"/>
              <a:ext cx="841693" cy="116008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FA484953-78A6-3842-61D2-13753A222E5A}"/>
                </a:ext>
              </a:extLst>
            </p:cNvPr>
            <p:cNvSpPr/>
            <p:nvPr/>
          </p:nvSpPr>
          <p:spPr>
            <a:xfrm>
              <a:off x="4141423" y="2632441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C845654-AFE6-397F-0C1A-86BDEAB2F936}"/>
              </a:ext>
            </a:extLst>
          </p:cNvPr>
          <p:cNvGrpSpPr/>
          <p:nvPr/>
        </p:nvGrpSpPr>
        <p:grpSpPr>
          <a:xfrm>
            <a:off x="8505599" y="2365115"/>
            <a:ext cx="3549629" cy="1319242"/>
            <a:chOff x="11131081" y="3485663"/>
            <a:chExt cx="3549629" cy="1319242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5F345038-0421-5AF1-157E-F631293D014A}"/>
                </a:ext>
              </a:extLst>
            </p:cNvPr>
            <p:cNvSpPr/>
            <p:nvPr/>
          </p:nvSpPr>
          <p:spPr>
            <a:xfrm>
              <a:off x="11131081" y="4138203"/>
              <a:ext cx="2210083" cy="6667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3C2581E7-2842-013B-E37C-E761BD327DC3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13341164" y="3773135"/>
              <a:ext cx="626345" cy="6984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6A062A3A-69C5-560F-BCF7-12B60E36381F}"/>
                </a:ext>
              </a:extLst>
            </p:cNvPr>
            <p:cNvSpPr/>
            <p:nvPr/>
          </p:nvSpPr>
          <p:spPr>
            <a:xfrm>
              <a:off x="13254309" y="3485663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1277C2B-94B3-DDE6-F1F3-D93B03C9324D}"/>
              </a:ext>
            </a:extLst>
          </p:cNvPr>
          <p:cNvGrpSpPr/>
          <p:nvPr/>
        </p:nvGrpSpPr>
        <p:grpSpPr>
          <a:xfrm>
            <a:off x="8587652" y="3921273"/>
            <a:ext cx="3467575" cy="287472"/>
            <a:chOff x="11131082" y="4117104"/>
            <a:chExt cx="3467575" cy="287472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966C8459-64D8-A115-C238-8EB29EDDAB81}"/>
                </a:ext>
              </a:extLst>
            </p:cNvPr>
            <p:cNvSpPr/>
            <p:nvPr/>
          </p:nvSpPr>
          <p:spPr>
            <a:xfrm>
              <a:off x="11131082" y="4138203"/>
              <a:ext cx="671370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68719245-BC34-5E2C-B3ED-420B61FD9EB3}"/>
                </a:ext>
              </a:extLst>
            </p:cNvPr>
            <p:cNvCxnSpPr>
              <a:cxnSpLocks/>
              <a:stCxn id="53" idx="1"/>
              <a:endCxn id="51" idx="3"/>
            </p:cNvCxnSpPr>
            <p:nvPr/>
          </p:nvCxnSpPr>
          <p:spPr>
            <a:xfrm flipH="1" flipV="1">
              <a:off x="11802452" y="4260200"/>
              <a:ext cx="1369804" cy="64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8D62C45B-59C4-EAF2-B1EC-B9C33445D59A}"/>
                </a:ext>
              </a:extLst>
            </p:cNvPr>
            <p:cNvSpPr/>
            <p:nvPr/>
          </p:nvSpPr>
          <p:spPr>
            <a:xfrm>
              <a:off x="13172256" y="411710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C04A000-BE60-4ED8-3D9D-247D6218230B}"/>
              </a:ext>
            </a:extLst>
          </p:cNvPr>
          <p:cNvGrpSpPr/>
          <p:nvPr/>
        </p:nvGrpSpPr>
        <p:grpSpPr>
          <a:xfrm>
            <a:off x="8587439" y="4507918"/>
            <a:ext cx="3554644" cy="478523"/>
            <a:chOff x="11131081" y="4138203"/>
            <a:chExt cx="3554644" cy="47852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40C23C43-D469-4931-F43D-4092834ABE84}"/>
                </a:ext>
              </a:extLst>
            </p:cNvPr>
            <p:cNvSpPr/>
            <p:nvPr/>
          </p:nvSpPr>
          <p:spPr>
            <a:xfrm>
              <a:off x="11131081" y="4138203"/>
              <a:ext cx="933805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38CC76A4-8CA3-6BC6-F3AE-696E5C3EC173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 flipV="1">
              <a:off x="12064886" y="4260200"/>
              <a:ext cx="1194438" cy="2127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920CF30-62E3-3AC1-5631-2666103CC3AF}"/>
                </a:ext>
              </a:extLst>
            </p:cNvPr>
            <p:cNvSpPr/>
            <p:nvPr/>
          </p:nvSpPr>
          <p:spPr>
            <a:xfrm>
              <a:off x="13259324" y="432925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3A4852-2E10-D0A6-A4DE-BF4B4EB9B799}"/>
              </a:ext>
            </a:extLst>
          </p:cNvPr>
          <p:cNvGrpSpPr/>
          <p:nvPr/>
        </p:nvGrpSpPr>
        <p:grpSpPr>
          <a:xfrm>
            <a:off x="8091704" y="4200328"/>
            <a:ext cx="3636143" cy="498000"/>
            <a:chOff x="-523835" y="3316948"/>
            <a:chExt cx="3636143" cy="49800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2D8ED13-E1D1-1126-FC8A-B6988BD5A5E4}"/>
                </a:ext>
              </a:extLst>
            </p:cNvPr>
            <p:cNvGrpSpPr/>
            <p:nvPr/>
          </p:nvGrpSpPr>
          <p:grpSpPr>
            <a:xfrm>
              <a:off x="-523835" y="3316948"/>
              <a:ext cx="2537122" cy="498000"/>
              <a:chOff x="4085832" y="3645813"/>
              <a:chExt cx="2537122" cy="498000"/>
            </a:xfrm>
          </p:grpSpPr>
          <p:sp>
            <p:nvSpPr>
              <p:cNvPr id="37" name="Google Shape;229;g370fc456c4b_0_4">
                <a:extLst>
                  <a:ext uri="{FF2B5EF4-FFF2-40B4-BE49-F238E27FC236}">
                    <a16:creationId xmlns:a16="http://schemas.microsoft.com/office/drawing/2014/main" id="{BDE76C6D-7FA9-AC4E-9175-9EB25C7C08E2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38" name="Google Shape;230;g370fc456c4b_0_4">
                <a:extLst>
                  <a:ext uri="{FF2B5EF4-FFF2-40B4-BE49-F238E27FC236}">
                    <a16:creationId xmlns:a16="http://schemas.microsoft.com/office/drawing/2014/main" id="{9222D8B2-FB99-DAE2-6F1F-BCF5FEA23F15}"/>
                  </a:ext>
                </a:extLst>
              </p:cNvPr>
              <p:cNvCxnSpPr>
                <a:cxnSpLocks/>
                <a:endCxn id="37" idx="0"/>
              </p:cNvCxnSpPr>
              <p:nvPr/>
            </p:nvCxnSpPr>
            <p:spPr>
              <a:xfrm>
                <a:off x="4085832" y="3645813"/>
                <a:ext cx="2450290" cy="32055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10E3A26-667D-9472-D952-DEB9D77934F1}"/>
                </a:ext>
              </a:extLst>
            </p:cNvPr>
            <p:cNvSpPr/>
            <p:nvPr/>
          </p:nvSpPr>
          <p:spPr>
            <a:xfrm>
              <a:off x="2130110" y="3386768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3D9301F-F8AC-C769-65C5-BC73EBEE46AF}"/>
              </a:ext>
            </a:extLst>
          </p:cNvPr>
          <p:cNvGrpSpPr/>
          <p:nvPr/>
        </p:nvGrpSpPr>
        <p:grpSpPr>
          <a:xfrm>
            <a:off x="4617897" y="2581910"/>
            <a:ext cx="3473807" cy="1950525"/>
            <a:chOff x="3641898" y="4129624"/>
            <a:chExt cx="3473807" cy="1950525"/>
          </a:xfrm>
        </p:grpSpPr>
        <p:sp>
          <p:nvSpPr>
            <p:cNvPr id="73" name="Google Shape;229;g370fc456c4b_0_4">
              <a:extLst>
                <a:ext uri="{FF2B5EF4-FFF2-40B4-BE49-F238E27FC236}">
                  <a16:creationId xmlns:a16="http://schemas.microsoft.com/office/drawing/2014/main" id="{33CA2245-0C5A-5731-B667-A6EA46018723}"/>
                </a:ext>
              </a:extLst>
            </p:cNvPr>
            <p:cNvSpPr/>
            <p:nvPr/>
          </p:nvSpPr>
          <p:spPr>
            <a:xfrm>
              <a:off x="5672933" y="4590461"/>
              <a:ext cx="1442772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4" name="Google Shape;230;g370fc456c4b_0_4">
              <a:extLst>
                <a:ext uri="{FF2B5EF4-FFF2-40B4-BE49-F238E27FC236}">
                  <a16:creationId xmlns:a16="http://schemas.microsoft.com/office/drawing/2014/main" id="{092D988B-A6D3-DC0A-A6B1-EE143B27D638}"/>
                </a:ext>
              </a:extLst>
            </p:cNvPr>
            <p:cNvCxnSpPr>
              <a:cxnSpLocks/>
            </p:cNvCxnSpPr>
            <p:nvPr/>
          </p:nvCxnSpPr>
          <p:spPr>
            <a:xfrm>
              <a:off x="4830084" y="4296598"/>
              <a:ext cx="859219" cy="2925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5F44C560-97B4-362A-06B9-231F25A4C5E0}"/>
                </a:ext>
              </a:extLst>
            </p:cNvPr>
            <p:cNvSpPr/>
            <p:nvPr/>
          </p:nvSpPr>
          <p:spPr>
            <a:xfrm>
              <a:off x="3641898" y="4129624"/>
              <a:ext cx="1171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95D3E88F-556C-C8C7-4B09-446E0EFF2C34}"/>
              </a:ext>
            </a:extLst>
          </p:cNvPr>
          <p:cNvGrpSpPr/>
          <p:nvPr/>
        </p:nvGrpSpPr>
        <p:grpSpPr>
          <a:xfrm>
            <a:off x="4782415" y="3098447"/>
            <a:ext cx="2606444" cy="966624"/>
            <a:chOff x="9196008" y="4138203"/>
            <a:chExt cx="2606444" cy="966624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BED5A35D-463D-F21D-4624-037F0475BC4B}"/>
                </a:ext>
              </a:extLst>
            </p:cNvPr>
            <p:cNvSpPr/>
            <p:nvPr/>
          </p:nvSpPr>
          <p:spPr>
            <a:xfrm>
              <a:off x="11131082" y="4138203"/>
              <a:ext cx="671370" cy="1509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B1267FEB-F76F-24B6-3F4A-72C510E4603A}"/>
                </a:ext>
              </a:extLst>
            </p:cNvPr>
            <p:cNvCxnSpPr>
              <a:cxnSpLocks/>
              <a:stCxn id="83" idx="3"/>
              <a:endCxn id="81" idx="1"/>
            </p:cNvCxnSpPr>
            <p:nvPr/>
          </p:nvCxnSpPr>
          <p:spPr>
            <a:xfrm flipV="1">
              <a:off x="10622409" y="4213677"/>
              <a:ext cx="508673" cy="7474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8DF1E773-5686-1E2A-A1EE-ED22C7CFF361}"/>
                </a:ext>
              </a:extLst>
            </p:cNvPr>
            <p:cNvSpPr/>
            <p:nvPr/>
          </p:nvSpPr>
          <p:spPr>
            <a:xfrm>
              <a:off x="9196008" y="481735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C3987A1F-6561-577B-2A25-1D6DFF450F5A}"/>
              </a:ext>
            </a:extLst>
          </p:cNvPr>
          <p:cNvGrpSpPr/>
          <p:nvPr/>
        </p:nvGrpSpPr>
        <p:grpSpPr>
          <a:xfrm>
            <a:off x="4522574" y="5455067"/>
            <a:ext cx="3852158" cy="1489688"/>
            <a:chOff x="3723499" y="4590461"/>
            <a:chExt cx="3852158" cy="1489688"/>
          </a:xfrm>
        </p:grpSpPr>
        <p:sp>
          <p:nvSpPr>
            <p:cNvPr id="89" name="Google Shape;229;g370fc456c4b_0_4">
              <a:extLst>
                <a:ext uri="{FF2B5EF4-FFF2-40B4-BE49-F238E27FC236}">
                  <a16:creationId xmlns:a16="http://schemas.microsoft.com/office/drawing/2014/main" id="{A0BBB50F-60BC-50D6-89A0-84C046C1E8C3}"/>
                </a:ext>
              </a:extLst>
            </p:cNvPr>
            <p:cNvSpPr/>
            <p:nvPr/>
          </p:nvSpPr>
          <p:spPr>
            <a:xfrm>
              <a:off x="5672933" y="4590461"/>
              <a:ext cx="1902724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0" name="Google Shape;230;g370fc456c4b_0_4">
              <a:extLst>
                <a:ext uri="{FF2B5EF4-FFF2-40B4-BE49-F238E27FC236}">
                  <a16:creationId xmlns:a16="http://schemas.microsoft.com/office/drawing/2014/main" id="{55E6AB69-7363-FE8B-2671-96232F3BBD6C}"/>
                </a:ext>
              </a:extLst>
            </p:cNvPr>
            <p:cNvCxnSpPr>
              <a:cxnSpLocks/>
            </p:cNvCxnSpPr>
            <p:nvPr/>
          </p:nvCxnSpPr>
          <p:spPr>
            <a:xfrm>
              <a:off x="5149900" y="5404166"/>
              <a:ext cx="52303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A43A04FD-7602-F1E6-AA58-A1AF1C05018D}"/>
                </a:ext>
              </a:extLst>
            </p:cNvPr>
            <p:cNvSpPr/>
            <p:nvPr/>
          </p:nvSpPr>
          <p:spPr>
            <a:xfrm>
              <a:off x="3723499" y="52604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86C9508-B031-6CE3-0F33-A13914B09171}"/>
              </a:ext>
            </a:extLst>
          </p:cNvPr>
          <p:cNvGrpSpPr/>
          <p:nvPr/>
        </p:nvGrpSpPr>
        <p:grpSpPr>
          <a:xfrm>
            <a:off x="8374732" y="5082877"/>
            <a:ext cx="3376330" cy="1117034"/>
            <a:chOff x="-240807" y="3631231"/>
            <a:chExt cx="3376330" cy="1117034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3E80819E-1126-59D3-9BA8-CF60FA777B34}"/>
                </a:ext>
              </a:extLst>
            </p:cNvPr>
            <p:cNvGrpSpPr/>
            <p:nvPr/>
          </p:nvGrpSpPr>
          <p:grpSpPr>
            <a:xfrm>
              <a:off x="-240807" y="3637498"/>
              <a:ext cx="2254094" cy="1110767"/>
              <a:chOff x="4368860" y="3966363"/>
              <a:chExt cx="2254094" cy="1110767"/>
            </a:xfrm>
          </p:grpSpPr>
          <p:sp>
            <p:nvSpPr>
              <p:cNvPr id="95" name="Google Shape;229;g370fc456c4b_0_4">
                <a:extLst>
                  <a:ext uri="{FF2B5EF4-FFF2-40B4-BE49-F238E27FC236}">
                    <a16:creationId xmlns:a16="http://schemas.microsoft.com/office/drawing/2014/main" id="{020B2F4D-3269-9DC9-8586-3EA12D8A34A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96" name="Google Shape;230;g370fc456c4b_0_4">
                <a:extLst>
                  <a:ext uri="{FF2B5EF4-FFF2-40B4-BE49-F238E27FC236}">
                    <a16:creationId xmlns:a16="http://schemas.microsoft.com/office/drawing/2014/main" id="{95CDA08F-8F04-8258-4556-C5744302E29F}"/>
                  </a:ext>
                </a:extLst>
              </p:cNvPr>
              <p:cNvCxnSpPr>
                <a:cxnSpLocks/>
                <a:stCxn id="89" idx="3"/>
                <a:endCxn id="95" idx="1"/>
              </p:cNvCxnSpPr>
              <p:nvPr/>
            </p:nvCxnSpPr>
            <p:spPr>
              <a:xfrm flipV="1">
                <a:off x="4368860" y="4055088"/>
                <a:ext cx="2080429" cy="102204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3DC8BAEA-EEE7-2FC2-52E7-B6E0C28ABF56}"/>
                </a:ext>
              </a:extLst>
            </p:cNvPr>
            <p:cNvSpPr/>
            <p:nvPr/>
          </p:nvSpPr>
          <p:spPr>
            <a:xfrm>
              <a:off x="2153325" y="3631231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37EF9608-694C-748C-5C4F-C9C27149EB06}"/>
              </a:ext>
            </a:extLst>
          </p:cNvPr>
          <p:cNvGrpSpPr/>
          <p:nvPr/>
        </p:nvGrpSpPr>
        <p:grpSpPr>
          <a:xfrm>
            <a:off x="6774666" y="5027884"/>
            <a:ext cx="2484356" cy="287472"/>
            <a:chOff x="3935349" y="4766672"/>
            <a:chExt cx="2484356" cy="287472"/>
          </a:xfrm>
        </p:grpSpPr>
        <p:sp>
          <p:nvSpPr>
            <p:cNvPr id="101" name="Google Shape;229;g370fc456c4b_0_4">
              <a:extLst>
                <a:ext uri="{FF2B5EF4-FFF2-40B4-BE49-F238E27FC236}">
                  <a16:creationId xmlns:a16="http://schemas.microsoft.com/office/drawing/2014/main" id="{FA86DC1B-3FBB-4AB3-A9D0-FA6C0BEBC3F2}"/>
                </a:ext>
              </a:extLst>
            </p:cNvPr>
            <p:cNvSpPr/>
            <p:nvPr/>
          </p:nvSpPr>
          <p:spPr>
            <a:xfrm>
              <a:off x="5672933" y="4788505"/>
              <a:ext cx="746772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2" name="Google Shape;230;g370fc456c4b_0_4">
              <a:extLst>
                <a:ext uri="{FF2B5EF4-FFF2-40B4-BE49-F238E27FC236}">
                  <a16:creationId xmlns:a16="http://schemas.microsoft.com/office/drawing/2014/main" id="{C81A4FE3-84D3-92A8-FD74-DE20EB352408}"/>
                </a:ext>
              </a:extLst>
            </p:cNvPr>
            <p:cNvCxnSpPr>
              <a:cxnSpLocks/>
              <a:endCxn id="101" idx="1"/>
            </p:cNvCxnSpPr>
            <p:nvPr/>
          </p:nvCxnSpPr>
          <p:spPr>
            <a:xfrm>
              <a:off x="5361750" y="4896943"/>
              <a:ext cx="311183" cy="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0DFC8FF-3D1A-ECE9-652A-F3F915BDBAFD}"/>
                </a:ext>
              </a:extLst>
            </p:cNvPr>
            <p:cNvSpPr/>
            <p:nvPr/>
          </p:nvSpPr>
          <p:spPr>
            <a:xfrm>
              <a:off x="3935349" y="4766672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CECBA501-8C01-AD87-1AC1-9DFEE3665EDB}"/>
              </a:ext>
            </a:extLst>
          </p:cNvPr>
          <p:cNvGrpSpPr/>
          <p:nvPr/>
        </p:nvGrpSpPr>
        <p:grpSpPr>
          <a:xfrm>
            <a:off x="6761931" y="4621069"/>
            <a:ext cx="2201315" cy="382652"/>
            <a:chOff x="3945358" y="4622730"/>
            <a:chExt cx="2201315" cy="382652"/>
          </a:xfrm>
        </p:grpSpPr>
        <p:sp>
          <p:nvSpPr>
            <p:cNvPr id="112" name="Google Shape;229;g370fc456c4b_0_4">
              <a:extLst>
                <a:ext uri="{FF2B5EF4-FFF2-40B4-BE49-F238E27FC236}">
                  <a16:creationId xmlns:a16="http://schemas.microsoft.com/office/drawing/2014/main" id="{15392ECE-9CA7-134E-9011-2F5019555B49}"/>
                </a:ext>
              </a:extLst>
            </p:cNvPr>
            <p:cNvSpPr/>
            <p:nvPr/>
          </p:nvSpPr>
          <p:spPr>
            <a:xfrm>
              <a:off x="5672933" y="4788505"/>
              <a:ext cx="473740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3" name="Google Shape;230;g370fc456c4b_0_4">
              <a:extLst>
                <a:ext uri="{FF2B5EF4-FFF2-40B4-BE49-F238E27FC236}">
                  <a16:creationId xmlns:a16="http://schemas.microsoft.com/office/drawing/2014/main" id="{2829220B-B50B-1E12-E2BD-4268FDE49822}"/>
                </a:ext>
              </a:extLst>
            </p:cNvPr>
            <p:cNvCxnSpPr>
              <a:cxnSpLocks/>
              <a:endCxn id="112" idx="1"/>
            </p:cNvCxnSpPr>
            <p:nvPr/>
          </p:nvCxnSpPr>
          <p:spPr>
            <a:xfrm>
              <a:off x="5384494" y="4795801"/>
              <a:ext cx="288439" cy="10114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A74E2356-03A8-934A-B3A9-C8D0CC6FD7DA}"/>
                </a:ext>
              </a:extLst>
            </p:cNvPr>
            <p:cNvSpPr/>
            <p:nvPr/>
          </p:nvSpPr>
          <p:spPr>
            <a:xfrm>
              <a:off x="3945358" y="46227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027163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84D044-7E2B-0B66-F099-479393D59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9E8FD7-29D6-49C7-9E3C-8278C3E51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USER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5996E4-F8F5-F35A-277A-49DE32379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801" y="988922"/>
            <a:ext cx="11329199" cy="5869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5685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" name="Group 203">
            <a:extLst>
              <a:ext uri="{FF2B5EF4-FFF2-40B4-BE49-F238E27FC236}">
                <a16:creationId xmlns:a16="http://schemas.microsoft.com/office/drawing/2014/main" id="{65D06640-1CD8-A9B3-8C7A-91E3E3E7B4AE}"/>
              </a:ext>
            </a:extLst>
          </p:cNvPr>
          <p:cNvGrpSpPr/>
          <p:nvPr/>
        </p:nvGrpSpPr>
        <p:grpSpPr>
          <a:xfrm>
            <a:off x="0" y="1098000"/>
            <a:ext cx="12192000" cy="5977246"/>
            <a:chOff x="0" y="1098000"/>
            <a:chExt cx="12192000" cy="597724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DB736E0-8726-DA0D-5247-D487F74E0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5977246"/>
            </a:xfrm>
            <a:prstGeom prst="rect">
              <a:avLst/>
            </a:prstGeom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4145CA29-8152-6780-6C25-CF1F52863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26730" y="2902368"/>
              <a:ext cx="465680" cy="253563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0DF31B5-0165-7D3D-3AC8-F01F919D3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67C4B41-E8D1-142B-83DF-7C6F03EA2F39}"/>
              </a:ext>
            </a:extLst>
          </p:cNvPr>
          <p:cNvGrpSpPr/>
          <p:nvPr/>
        </p:nvGrpSpPr>
        <p:grpSpPr>
          <a:xfrm>
            <a:off x="127555" y="2384966"/>
            <a:ext cx="2834867" cy="2468687"/>
            <a:chOff x="4131428" y="2093833"/>
            <a:chExt cx="2834867" cy="2468687"/>
          </a:xfrm>
        </p:grpSpPr>
        <p:sp>
          <p:nvSpPr>
            <p:cNvPr id="66" name="Google Shape;229;g370fc456c4b_0_4">
              <a:extLst>
                <a:ext uri="{FF2B5EF4-FFF2-40B4-BE49-F238E27FC236}">
                  <a16:creationId xmlns:a16="http://schemas.microsoft.com/office/drawing/2014/main" id="{BE1EE737-6D7A-6CE1-E4AE-22E78F56D7D7}"/>
                </a:ext>
              </a:extLst>
            </p:cNvPr>
            <p:cNvSpPr/>
            <p:nvPr/>
          </p:nvSpPr>
          <p:spPr>
            <a:xfrm>
              <a:off x="4131428" y="2093833"/>
              <a:ext cx="2021821" cy="10429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7" name="Google Shape;230;g370fc456c4b_0_4">
              <a:extLst>
                <a:ext uri="{FF2B5EF4-FFF2-40B4-BE49-F238E27FC236}">
                  <a16:creationId xmlns:a16="http://schemas.microsoft.com/office/drawing/2014/main" id="{9B5E49CB-9D75-9292-0F25-6ACD4214B135}"/>
                </a:ext>
              </a:extLst>
            </p:cNvPr>
            <p:cNvCxnSpPr>
              <a:cxnSpLocks/>
              <a:endCxn id="66" idx="2"/>
            </p:cNvCxnSpPr>
            <p:nvPr/>
          </p:nvCxnSpPr>
          <p:spPr>
            <a:xfrm flipH="1" flipV="1">
              <a:off x="5142339" y="3136812"/>
              <a:ext cx="1508665" cy="108752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28CC1BC9-ADD4-72EA-BE02-B6D4689BA7B8}"/>
                </a:ext>
              </a:extLst>
            </p:cNvPr>
            <p:cNvSpPr/>
            <p:nvPr/>
          </p:nvSpPr>
          <p:spPr>
            <a:xfrm>
              <a:off x="6352661" y="4275048"/>
              <a:ext cx="61363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E898ECC-3152-AB98-7730-79FC8CE18136}"/>
              </a:ext>
            </a:extLst>
          </p:cNvPr>
          <p:cNvGrpSpPr/>
          <p:nvPr/>
        </p:nvGrpSpPr>
        <p:grpSpPr>
          <a:xfrm>
            <a:off x="194072" y="2686048"/>
            <a:ext cx="1422079" cy="216320"/>
            <a:chOff x="6500855" y="4338279"/>
            <a:chExt cx="1422079" cy="216320"/>
          </a:xfrm>
        </p:grpSpPr>
        <p:sp>
          <p:nvSpPr>
            <p:cNvPr id="70" name="Google Shape;229;g370fc456c4b_0_4">
              <a:extLst>
                <a:ext uri="{FF2B5EF4-FFF2-40B4-BE49-F238E27FC236}">
                  <a16:creationId xmlns:a16="http://schemas.microsoft.com/office/drawing/2014/main" id="{0A4BDAC3-9933-460F-2522-0407519755E3}"/>
                </a:ext>
              </a:extLst>
            </p:cNvPr>
            <p:cNvSpPr/>
            <p:nvPr/>
          </p:nvSpPr>
          <p:spPr>
            <a:xfrm>
              <a:off x="6500855" y="4355581"/>
              <a:ext cx="449908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1" name="Google Shape;230;g370fc456c4b_0_4">
              <a:extLst>
                <a:ext uri="{FF2B5EF4-FFF2-40B4-BE49-F238E27FC236}">
                  <a16:creationId xmlns:a16="http://schemas.microsoft.com/office/drawing/2014/main" id="{03F5F2C0-2E63-80E5-6FA3-6AC3A612B2FB}"/>
                </a:ext>
              </a:extLst>
            </p:cNvPr>
            <p:cNvCxnSpPr>
              <a:cxnSpLocks/>
              <a:endCxn id="70" idx="3"/>
            </p:cNvCxnSpPr>
            <p:nvPr/>
          </p:nvCxnSpPr>
          <p:spPr>
            <a:xfrm flipH="1">
              <a:off x="6950763" y="4446439"/>
              <a:ext cx="20673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89441518-AF8A-68D6-DCF9-D76B4D9885DC}"/>
                </a:ext>
              </a:extLst>
            </p:cNvPr>
            <p:cNvSpPr/>
            <p:nvPr/>
          </p:nvSpPr>
          <p:spPr>
            <a:xfrm>
              <a:off x="7156451" y="4338279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6B314F9-317A-6B79-6C29-F4FD5CF994D9}"/>
              </a:ext>
            </a:extLst>
          </p:cNvPr>
          <p:cNvGrpSpPr/>
          <p:nvPr/>
        </p:nvGrpSpPr>
        <p:grpSpPr>
          <a:xfrm>
            <a:off x="127555" y="1188563"/>
            <a:ext cx="1639974" cy="580772"/>
            <a:chOff x="6500855" y="3920591"/>
            <a:chExt cx="1639974" cy="580772"/>
          </a:xfrm>
        </p:grpSpPr>
        <p:sp>
          <p:nvSpPr>
            <p:cNvPr id="74" name="Google Shape;229;g370fc456c4b_0_4">
              <a:extLst>
                <a:ext uri="{FF2B5EF4-FFF2-40B4-BE49-F238E27FC236}">
                  <a16:creationId xmlns:a16="http://schemas.microsoft.com/office/drawing/2014/main" id="{B91927B4-B4F1-845B-D897-2D7B66A03A81}"/>
                </a:ext>
              </a:extLst>
            </p:cNvPr>
            <p:cNvSpPr/>
            <p:nvPr/>
          </p:nvSpPr>
          <p:spPr>
            <a:xfrm>
              <a:off x="6500855" y="4319647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5" name="Google Shape;230;g370fc456c4b_0_4">
              <a:extLst>
                <a:ext uri="{FF2B5EF4-FFF2-40B4-BE49-F238E27FC236}">
                  <a16:creationId xmlns:a16="http://schemas.microsoft.com/office/drawing/2014/main" id="{574C6EDA-FB82-8E66-B4F8-29AD0FF8E817}"/>
                </a:ext>
              </a:extLst>
            </p:cNvPr>
            <p:cNvCxnSpPr>
              <a:cxnSpLocks/>
              <a:stCxn id="76" idx="2"/>
              <a:endCxn id="74" idx="3"/>
            </p:cNvCxnSpPr>
            <p:nvPr/>
          </p:nvCxnSpPr>
          <p:spPr>
            <a:xfrm flipH="1">
              <a:off x="7233520" y="4136911"/>
              <a:ext cx="504160" cy="2735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89F129ED-6836-7AFD-EB99-3B4A848B10C5}"/>
                </a:ext>
              </a:extLst>
            </p:cNvPr>
            <p:cNvSpPr/>
            <p:nvPr/>
          </p:nvSpPr>
          <p:spPr>
            <a:xfrm>
              <a:off x="7334530" y="3920591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7618630-76D4-9746-EB82-4126E8801240}"/>
              </a:ext>
            </a:extLst>
          </p:cNvPr>
          <p:cNvGrpSpPr/>
          <p:nvPr/>
        </p:nvGrpSpPr>
        <p:grpSpPr>
          <a:xfrm>
            <a:off x="179892" y="2083476"/>
            <a:ext cx="1854229" cy="216320"/>
            <a:chOff x="6500854" y="4348810"/>
            <a:chExt cx="1854229" cy="216320"/>
          </a:xfrm>
        </p:grpSpPr>
        <p:sp>
          <p:nvSpPr>
            <p:cNvPr id="78" name="Google Shape;229;g370fc456c4b_0_4">
              <a:extLst>
                <a:ext uri="{FF2B5EF4-FFF2-40B4-BE49-F238E27FC236}">
                  <a16:creationId xmlns:a16="http://schemas.microsoft.com/office/drawing/2014/main" id="{D29BCBAE-E681-C5A4-5B81-E6AC40C5C277}"/>
                </a:ext>
              </a:extLst>
            </p:cNvPr>
            <p:cNvSpPr/>
            <p:nvPr/>
          </p:nvSpPr>
          <p:spPr>
            <a:xfrm>
              <a:off x="6500854" y="4355581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9" name="Google Shape;230;g370fc456c4b_0_4">
              <a:extLst>
                <a:ext uri="{FF2B5EF4-FFF2-40B4-BE49-F238E27FC236}">
                  <a16:creationId xmlns:a16="http://schemas.microsoft.com/office/drawing/2014/main" id="{1E184EA2-BD73-2770-BBE9-CBE58D446BCD}"/>
                </a:ext>
              </a:extLst>
            </p:cNvPr>
            <p:cNvCxnSpPr>
              <a:cxnSpLocks/>
              <a:stCxn id="80" idx="1"/>
              <a:endCxn id="78" idx="3"/>
            </p:cNvCxnSpPr>
            <p:nvPr/>
          </p:nvCxnSpPr>
          <p:spPr>
            <a:xfrm flipH="1" flipV="1">
              <a:off x="7233519" y="4446439"/>
              <a:ext cx="315265" cy="105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30E785CE-A030-877D-9116-AFD01ED256E6}"/>
                </a:ext>
              </a:extLst>
            </p:cNvPr>
            <p:cNvSpPr/>
            <p:nvPr/>
          </p:nvSpPr>
          <p:spPr>
            <a:xfrm>
              <a:off x="7548784" y="4348810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F2B6420-5A42-C5C1-AFE2-0B30FBEF6F89}"/>
              </a:ext>
            </a:extLst>
          </p:cNvPr>
          <p:cNvGrpSpPr/>
          <p:nvPr/>
        </p:nvGrpSpPr>
        <p:grpSpPr>
          <a:xfrm>
            <a:off x="37214" y="1575095"/>
            <a:ext cx="2952206" cy="3454182"/>
            <a:chOff x="3907161" y="1162883"/>
            <a:chExt cx="2952206" cy="3454182"/>
          </a:xfrm>
        </p:grpSpPr>
        <p:sp>
          <p:nvSpPr>
            <p:cNvPr id="82" name="Google Shape;229;g370fc456c4b_0_4">
              <a:extLst>
                <a:ext uri="{FF2B5EF4-FFF2-40B4-BE49-F238E27FC236}">
                  <a16:creationId xmlns:a16="http://schemas.microsoft.com/office/drawing/2014/main" id="{6D022503-FDD2-56CD-2496-81C2EC215BF4}"/>
                </a:ext>
              </a:extLst>
            </p:cNvPr>
            <p:cNvSpPr/>
            <p:nvPr/>
          </p:nvSpPr>
          <p:spPr>
            <a:xfrm>
              <a:off x="3907161" y="1578057"/>
              <a:ext cx="2142460" cy="303900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3" name="Google Shape;230;g370fc456c4b_0_4">
              <a:extLst>
                <a:ext uri="{FF2B5EF4-FFF2-40B4-BE49-F238E27FC236}">
                  <a16:creationId xmlns:a16="http://schemas.microsoft.com/office/drawing/2014/main" id="{E4E8EEC9-3929-6127-19B7-E555E6C6292D}"/>
                </a:ext>
              </a:extLst>
            </p:cNvPr>
            <p:cNvCxnSpPr>
              <a:cxnSpLocks/>
              <a:stCxn id="84" idx="1"/>
              <a:endCxn id="82" idx="0"/>
            </p:cNvCxnSpPr>
            <p:nvPr/>
          </p:nvCxnSpPr>
          <p:spPr>
            <a:xfrm flipH="1">
              <a:off x="4978391" y="1306619"/>
              <a:ext cx="1213395" cy="27143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690CEDD2-E08A-676D-B574-74F8854454EF}"/>
                </a:ext>
              </a:extLst>
            </p:cNvPr>
            <p:cNvSpPr/>
            <p:nvPr/>
          </p:nvSpPr>
          <p:spPr>
            <a:xfrm>
              <a:off x="6191786" y="1162883"/>
              <a:ext cx="66758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9C11012-F91F-1B8E-89D9-7B523304E8ED}"/>
              </a:ext>
            </a:extLst>
          </p:cNvPr>
          <p:cNvGrpSpPr/>
          <p:nvPr/>
        </p:nvGrpSpPr>
        <p:grpSpPr>
          <a:xfrm>
            <a:off x="204624" y="2021590"/>
            <a:ext cx="3538626" cy="661138"/>
            <a:chOff x="4056098" y="1615981"/>
            <a:chExt cx="3538626" cy="661138"/>
          </a:xfrm>
        </p:grpSpPr>
        <p:sp>
          <p:nvSpPr>
            <p:cNvPr id="86" name="Google Shape;229;g370fc456c4b_0_4">
              <a:extLst>
                <a:ext uri="{FF2B5EF4-FFF2-40B4-BE49-F238E27FC236}">
                  <a16:creationId xmlns:a16="http://schemas.microsoft.com/office/drawing/2014/main" id="{A79E5442-7A8C-6C67-2AE9-868EB088D8B8}"/>
                </a:ext>
              </a:extLst>
            </p:cNvPr>
            <p:cNvSpPr/>
            <p:nvPr/>
          </p:nvSpPr>
          <p:spPr>
            <a:xfrm>
              <a:off x="4056098" y="2003250"/>
              <a:ext cx="1422078" cy="27386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7" name="Google Shape;230;g370fc456c4b_0_4">
              <a:extLst>
                <a:ext uri="{FF2B5EF4-FFF2-40B4-BE49-F238E27FC236}">
                  <a16:creationId xmlns:a16="http://schemas.microsoft.com/office/drawing/2014/main" id="{13588F4D-A268-7F4A-36A2-0B85E9347D1C}"/>
                </a:ext>
              </a:extLst>
            </p:cNvPr>
            <p:cNvCxnSpPr>
              <a:cxnSpLocks/>
              <a:stCxn id="88" idx="1"/>
              <a:endCxn id="86" idx="3"/>
            </p:cNvCxnSpPr>
            <p:nvPr/>
          </p:nvCxnSpPr>
          <p:spPr>
            <a:xfrm flipH="1">
              <a:off x="5478176" y="1759717"/>
              <a:ext cx="1444170" cy="38046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3DD7F424-A676-C7DE-B294-432D610462AB}"/>
                </a:ext>
              </a:extLst>
            </p:cNvPr>
            <p:cNvSpPr/>
            <p:nvPr/>
          </p:nvSpPr>
          <p:spPr>
            <a:xfrm>
              <a:off x="6922346" y="1615981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26DC216-0B36-ED52-460C-E0DFC3709867}"/>
              </a:ext>
            </a:extLst>
          </p:cNvPr>
          <p:cNvGrpSpPr/>
          <p:nvPr/>
        </p:nvGrpSpPr>
        <p:grpSpPr>
          <a:xfrm>
            <a:off x="7461264" y="1512982"/>
            <a:ext cx="2228950" cy="292287"/>
            <a:chOff x="2608510" y="1998436"/>
            <a:chExt cx="2228950" cy="292287"/>
          </a:xfrm>
        </p:grpSpPr>
        <p:sp>
          <p:nvSpPr>
            <p:cNvPr id="90" name="Google Shape;229;g370fc456c4b_0_4">
              <a:extLst>
                <a:ext uri="{FF2B5EF4-FFF2-40B4-BE49-F238E27FC236}">
                  <a16:creationId xmlns:a16="http://schemas.microsoft.com/office/drawing/2014/main" id="{74C4B0AD-A059-B658-7DA7-455AC361CD50}"/>
                </a:ext>
              </a:extLst>
            </p:cNvPr>
            <p:cNvSpPr/>
            <p:nvPr/>
          </p:nvSpPr>
          <p:spPr>
            <a:xfrm>
              <a:off x="4056098" y="2003250"/>
              <a:ext cx="781362" cy="28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1" name="Google Shape;230;g370fc456c4b_0_4">
              <a:extLst>
                <a:ext uri="{FF2B5EF4-FFF2-40B4-BE49-F238E27FC236}">
                  <a16:creationId xmlns:a16="http://schemas.microsoft.com/office/drawing/2014/main" id="{8F01E833-DCA4-8AA6-7D73-A42E4E7233CA}"/>
                </a:ext>
              </a:extLst>
            </p:cNvPr>
            <p:cNvCxnSpPr>
              <a:cxnSpLocks/>
              <a:endCxn id="90" idx="1"/>
            </p:cNvCxnSpPr>
            <p:nvPr/>
          </p:nvCxnSpPr>
          <p:spPr>
            <a:xfrm>
              <a:off x="3578931" y="2146987"/>
              <a:ext cx="47716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814B028A-F4BD-6C03-7D20-549CADB27C9E}"/>
                </a:ext>
              </a:extLst>
            </p:cNvPr>
            <p:cNvSpPr/>
            <p:nvPr/>
          </p:nvSpPr>
          <p:spPr>
            <a:xfrm>
              <a:off x="2608510" y="1998436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28FF3B1-24CE-5AC6-A3AD-7094D63924E6}"/>
              </a:ext>
            </a:extLst>
          </p:cNvPr>
          <p:cNvGrpSpPr/>
          <p:nvPr/>
        </p:nvGrpSpPr>
        <p:grpSpPr>
          <a:xfrm>
            <a:off x="4689823" y="3155931"/>
            <a:ext cx="3092897" cy="559486"/>
            <a:chOff x="4056098" y="2054710"/>
            <a:chExt cx="3092897" cy="559486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F58EAA37-BE28-82BC-A265-D6E7AE8A0B47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42BCE84-E747-D4E9-73A0-CC0286DB5CC0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 flipV="1">
              <a:off x="4371947" y="2143991"/>
              <a:ext cx="1760223" cy="32646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9F476955-5F47-8CE0-C76E-AEFD789F6A87}"/>
                </a:ext>
              </a:extLst>
            </p:cNvPr>
            <p:cNvSpPr/>
            <p:nvPr/>
          </p:nvSpPr>
          <p:spPr>
            <a:xfrm>
              <a:off x="6132170" y="2326724"/>
              <a:ext cx="101682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2CE56E9-ED2D-9822-D300-5B5FB65239B0}"/>
              </a:ext>
            </a:extLst>
          </p:cNvPr>
          <p:cNvGrpSpPr/>
          <p:nvPr/>
        </p:nvGrpSpPr>
        <p:grpSpPr>
          <a:xfrm>
            <a:off x="5053054" y="3959548"/>
            <a:ext cx="2692968" cy="785743"/>
            <a:chOff x="4104304" y="1520985"/>
            <a:chExt cx="2692968" cy="785743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0E435FC6-B906-99FF-BABC-816BB1DD2FCB}"/>
                </a:ext>
              </a:extLst>
            </p:cNvPr>
            <p:cNvSpPr/>
            <p:nvPr/>
          </p:nvSpPr>
          <p:spPr>
            <a:xfrm>
              <a:off x="4104304" y="2139750"/>
              <a:ext cx="298473" cy="1669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1A2D5134-06AE-364C-93F3-78188A4FB196}"/>
                </a:ext>
              </a:extLst>
            </p:cNvPr>
            <p:cNvCxnSpPr>
              <a:cxnSpLocks/>
              <a:stCxn id="100" idx="1"/>
              <a:endCxn id="98" idx="0"/>
            </p:cNvCxnSpPr>
            <p:nvPr/>
          </p:nvCxnSpPr>
          <p:spPr>
            <a:xfrm flipH="1">
              <a:off x="4253541" y="1664721"/>
              <a:ext cx="1600304" cy="47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316F16C7-71D8-B87A-1847-075ABD8C8454}"/>
                </a:ext>
              </a:extLst>
            </p:cNvPr>
            <p:cNvSpPr/>
            <p:nvPr/>
          </p:nvSpPr>
          <p:spPr>
            <a:xfrm>
              <a:off x="5853845" y="1520985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21991D6-3025-0F61-AEFA-7DD932A42C52}"/>
              </a:ext>
            </a:extLst>
          </p:cNvPr>
          <p:cNvGrpSpPr/>
          <p:nvPr/>
        </p:nvGrpSpPr>
        <p:grpSpPr>
          <a:xfrm>
            <a:off x="11569349" y="1131427"/>
            <a:ext cx="580244" cy="958820"/>
            <a:chOff x="3732280" y="1979284"/>
            <a:chExt cx="580244" cy="958820"/>
          </a:xfrm>
        </p:grpSpPr>
        <p:sp>
          <p:nvSpPr>
            <p:cNvPr id="102" name="Google Shape;229;g370fc456c4b_0_4">
              <a:extLst>
                <a:ext uri="{FF2B5EF4-FFF2-40B4-BE49-F238E27FC236}">
                  <a16:creationId xmlns:a16="http://schemas.microsoft.com/office/drawing/2014/main" id="{27E4F0BD-EBC8-5320-0028-1718F64F4B5D}"/>
                </a:ext>
              </a:extLst>
            </p:cNvPr>
            <p:cNvSpPr/>
            <p:nvPr/>
          </p:nvSpPr>
          <p:spPr>
            <a:xfrm>
              <a:off x="4105790" y="1979284"/>
              <a:ext cx="206734" cy="21631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3" name="Google Shape;230;g370fc456c4b_0_4">
              <a:extLst>
                <a:ext uri="{FF2B5EF4-FFF2-40B4-BE49-F238E27FC236}">
                  <a16:creationId xmlns:a16="http://schemas.microsoft.com/office/drawing/2014/main" id="{FAECE26B-DEBD-97E3-5C2A-B34BDDD025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60764" y="2195603"/>
              <a:ext cx="166612" cy="45270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156AB620-7622-60DE-8A13-9437394DB012}"/>
                </a:ext>
              </a:extLst>
            </p:cNvPr>
            <p:cNvSpPr/>
            <p:nvPr/>
          </p:nvSpPr>
          <p:spPr>
            <a:xfrm>
              <a:off x="3732280" y="2650632"/>
              <a:ext cx="58024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B5CE217-2B84-F053-0AE0-D8E72D3DD8B6}"/>
              </a:ext>
            </a:extLst>
          </p:cNvPr>
          <p:cNvGrpSpPr/>
          <p:nvPr/>
        </p:nvGrpSpPr>
        <p:grpSpPr>
          <a:xfrm>
            <a:off x="5458504" y="4387901"/>
            <a:ext cx="2110574" cy="357210"/>
            <a:chOff x="6549987" y="3471331"/>
            <a:chExt cx="2110574" cy="357210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4768C1A2-F8A5-FE5A-D2F3-9B56A536C56C}"/>
                </a:ext>
              </a:extLst>
            </p:cNvPr>
            <p:cNvSpPr/>
            <p:nvPr/>
          </p:nvSpPr>
          <p:spPr>
            <a:xfrm>
              <a:off x="6549987" y="3661563"/>
              <a:ext cx="159026" cy="1669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D7AA7F14-A476-A3A8-A72C-9E4575715E8D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6709013" y="3579491"/>
              <a:ext cx="1185065" cy="1655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7210B5D4-AF84-D53E-52A9-9A9CC7AA322C}"/>
                </a:ext>
              </a:extLst>
            </p:cNvPr>
            <p:cNvSpPr/>
            <p:nvPr/>
          </p:nvSpPr>
          <p:spPr>
            <a:xfrm>
              <a:off x="7894078" y="3471331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5AF899B-4F73-1CEB-C644-7C125395EC75}"/>
              </a:ext>
            </a:extLst>
          </p:cNvPr>
          <p:cNvGrpSpPr/>
          <p:nvPr/>
        </p:nvGrpSpPr>
        <p:grpSpPr>
          <a:xfrm>
            <a:off x="3490971" y="4349524"/>
            <a:ext cx="1337995" cy="216320"/>
            <a:chOff x="4734833" y="3401314"/>
            <a:chExt cx="1337995" cy="216320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5BF7BDA2-5A33-9676-72A1-C3EAFC017474}"/>
                </a:ext>
              </a:extLst>
            </p:cNvPr>
            <p:cNvSpPr/>
            <p:nvPr/>
          </p:nvSpPr>
          <p:spPr>
            <a:xfrm>
              <a:off x="5933685" y="3442705"/>
              <a:ext cx="139143" cy="1245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4408B703-D5AF-CB44-E74C-8F7A042C0F28}"/>
                </a:ext>
              </a:extLst>
            </p:cNvPr>
            <p:cNvCxnSpPr>
              <a:cxnSpLocks/>
              <a:stCxn id="112" idx="3"/>
              <a:endCxn id="110" idx="1"/>
            </p:cNvCxnSpPr>
            <p:nvPr/>
          </p:nvCxnSpPr>
          <p:spPr>
            <a:xfrm flipV="1">
              <a:off x="5630597" y="3504983"/>
              <a:ext cx="303088" cy="44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2DF0A326-E054-AC79-8D64-927EC4ED0BB1}"/>
                </a:ext>
              </a:extLst>
            </p:cNvPr>
            <p:cNvSpPr/>
            <p:nvPr/>
          </p:nvSpPr>
          <p:spPr>
            <a:xfrm>
              <a:off x="4734833" y="3401314"/>
              <a:ext cx="8957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Comple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D3F438F-468B-7A5C-C97E-4A4568D81DEA}"/>
              </a:ext>
            </a:extLst>
          </p:cNvPr>
          <p:cNvGrpSpPr/>
          <p:nvPr/>
        </p:nvGrpSpPr>
        <p:grpSpPr>
          <a:xfrm>
            <a:off x="5315385" y="4747957"/>
            <a:ext cx="2734935" cy="287472"/>
            <a:chOff x="4130148" y="2092580"/>
            <a:chExt cx="2734935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DB95DCA1-F9C0-4624-2C20-6AB8A9B6BDB9}"/>
                </a:ext>
              </a:extLst>
            </p:cNvPr>
            <p:cNvSpPr/>
            <p:nvPr/>
          </p:nvSpPr>
          <p:spPr>
            <a:xfrm>
              <a:off x="4130148" y="2139749"/>
              <a:ext cx="389977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7960A1D8-DF2D-CB1B-12A2-19C0024AC07B}"/>
                </a:ext>
              </a:extLst>
            </p:cNvPr>
            <p:cNvCxnSpPr>
              <a:cxnSpLocks/>
              <a:stCxn id="116" idx="1"/>
              <a:endCxn id="114" idx="3"/>
            </p:cNvCxnSpPr>
            <p:nvPr/>
          </p:nvCxnSpPr>
          <p:spPr>
            <a:xfrm flipH="1" flipV="1">
              <a:off x="4520125" y="2230607"/>
              <a:ext cx="1106448" cy="570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D5A87A3E-DC39-C71F-FDF5-77910605BF23}"/>
                </a:ext>
              </a:extLst>
            </p:cNvPr>
            <p:cNvSpPr/>
            <p:nvPr/>
          </p:nvSpPr>
          <p:spPr>
            <a:xfrm>
              <a:off x="5626573" y="209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B1C57EA3-8AD7-C9FD-4B23-009DC08F0FAA}"/>
              </a:ext>
            </a:extLst>
          </p:cNvPr>
          <p:cNvGrpSpPr/>
          <p:nvPr/>
        </p:nvGrpSpPr>
        <p:grpSpPr>
          <a:xfrm>
            <a:off x="3138532" y="4728986"/>
            <a:ext cx="2176853" cy="287472"/>
            <a:chOff x="2371005" y="2642580"/>
            <a:chExt cx="2176853" cy="287472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5110F1A3-58DC-CB39-20E8-3317CB8B2E43}"/>
                </a:ext>
              </a:extLst>
            </p:cNvPr>
            <p:cNvSpPr/>
            <p:nvPr/>
          </p:nvSpPr>
          <p:spPr>
            <a:xfrm>
              <a:off x="3922296" y="2703446"/>
              <a:ext cx="625562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A6E47532-7112-4011-E68B-D4BB561F0182}"/>
                </a:ext>
              </a:extLst>
            </p:cNvPr>
            <p:cNvCxnSpPr>
              <a:cxnSpLocks/>
              <a:stCxn id="120" idx="3"/>
              <a:endCxn id="118" idx="1"/>
            </p:cNvCxnSpPr>
            <p:nvPr/>
          </p:nvCxnSpPr>
          <p:spPr>
            <a:xfrm>
              <a:off x="3609515" y="2786316"/>
              <a:ext cx="312781" cy="79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7782E5B0-6EB0-1DF3-5BDB-960F717EE643}"/>
                </a:ext>
              </a:extLst>
            </p:cNvPr>
            <p:cNvSpPr/>
            <p:nvPr/>
          </p:nvSpPr>
          <p:spPr>
            <a:xfrm>
              <a:off x="2371005" y="264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</a:t>
              </a:r>
              <a:endParaRPr lang="en-US" dirty="0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AF6665F-0CDD-F47D-D49F-D5BC29860EE9}"/>
              </a:ext>
            </a:extLst>
          </p:cNvPr>
          <p:cNvGrpSpPr/>
          <p:nvPr/>
        </p:nvGrpSpPr>
        <p:grpSpPr>
          <a:xfrm>
            <a:off x="9950884" y="1098001"/>
            <a:ext cx="1697082" cy="992246"/>
            <a:chOff x="2678210" y="1945858"/>
            <a:chExt cx="1697082" cy="992246"/>
          </a:xfrm>
        </p:grpSpPr>
        <p:sp>
          <p:nvSpPr>
            <p:cNvPr id="122" name="Google Shape;229;g370fc456c4b_0_4">
              <a:extLst>
                <a:ext uri="{FF2B5EF4-FFF2-40B4-BE49-F238E27FC236}">
                  <a16:creationId xmlns:a16="http://schemas.microsoft.com/office/drawing/2014/main" id="{371BD6BF-642C-5EC9-D787-467F8F2693CE}"/>
                </a:ext>
              </a:extLst>
            </p:cNvPr>
            <p:cNvSpPr/>
            <p:nvPr/>
          </p:nvSpPr>
          <p:spPr>
            <a:xfrm>
              <a:off x="4105789" y="1945858"/>
              <a:ext cx="269503" cy="2497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3" name="Google Shape;230;g370fc456c4b_0_4">
              <a:extLst>
                <a:ext uri="{FF2B5EF4-FFF2-40B4-BE49-F238E27FC236}">
                  <a16:creationId xmlns:a16="http://schemas.microsoft.com/office/drawing/2014/main" id="{830FC07B-5023-F204-E547-1CC01DD8FB9E}"/>
                </a:ext>
              </a:extLst>
            </p:cNvPr>
            <p:cNvCxnSpPr>
              <a:cxnSpLocks/>
              <a:stCxn id="124" idx="0"/>
            </p:cNvCxnSpPr>
            <p:nvPr/>
          </p:nvCxnSpPr>
          <p:spPr>
            <a:xfrm flipV="1">
              <a:off x="3284908" y="2195603"/>
              <a:ext cx="942468" cy="45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A09DF973-2BAC-46A8-B577-8FA55E4D1D86}"/>
                </a:ext>
              </a:extLst>
            </p:cNvPr>
            <p:cNvSpPr/>
            <p:nvPr/>
          </p:nvSpPr>
          <p:spPr>
            <a:xfrm>
              <a:off x="2678210" y="2650632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pic>
        <p:nvPicPr>
          <p:cNvPr id="136" name="Picture 135">
            <a:extLst>
              <a:ext uri="{FF2B5EF4-FFF2-40B4-BE49-F238E27FC236}">
                <a16:creationId xmlns:a16="http://schemas.microsoft.com/office/drawing/2014/main" id="{9F949B20-9757-D0D5-51B4-0FD0D8E554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1670" y="2140054"/>
            <a:ext cx="2214025" cy="1792306"/>
          </a:xfrm>
          <a:prstGeom prst="rect">
            <a:avLst/>
          </a:prstGeom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F513D13-FF20-EB9F-F5CB-16A09849682F}"/>
              </a:ext>
            </a:extLst>
          </p:cNvPr>
          <p:cNvGrpSpPr/>
          <p:nvPr/>
        </p:nvGrpSpPr>
        <p:grpSpPr>
          <a:xfrm>
            <a:off x="7891111" y="3034541"/>
            <a:ext cx="2110574" cy="1311653"/>
            <a:chOff x="6549987" y="3661563"/>
            <a:chExt cx="2110574" cy="1311653"/>
          </a:xfrm>
        </p:grpSpPr>
        <p:sp>
          <p:nvSpPr>
            <p:cNvPr id="138" name="Google Shape;229;g370fc456c4b_0_4">
              <a:extLst>
                <a:ext uri="{FF2B5EF4-FFF2-40B4-BE49-F238E27FC236}">
                  <a16:creationId xmlns:a16="http://schemas.microsoft.com/office/drawing/2014/main" id="{E056CDAF-5646-C741-F461-D20FC780C674}"/>
                </a:ext>
              </a:extLst>
            </p:cNvPr>
            <p:cNvSpPr/>
            <p:nvPr/>
          </p:nvSpPr>
          <p:spPr>
            <a:xfrm>
              <a:off x="6549987" y="3661563"/>
              <a:ext cx="2110574" cy="56373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9" name="Google Shape;230;g370fc456c4b_0_4">
              <a:extLst>
                <a:ext uri="{FF2B5EF4-FFF2-40B4-BE49-F238E27FC236}">
                  <a16:creationId xmlns:a16="http://schemas.microsoft.com/office/drawing/2014/main" id="{7A776CDB-A2E8-4CA9-8130-5AC542566D17}"/>
                </a:ext>
              </a:extLst>
            </p:cNvPr>
            <p:cNvCxnSpPr>
              <a:cxnSpLocks/>
              <a:endCxn id="138" idx="2"/>
            </p:cNvCxnSpPr>
            <p:nvPr/>
          </p:nvCxnSpPr>
          <p:spPr>
            <a:xfrm flipV="1">
              <a:off x="7605274" y="4225293"/>
              <a:ext cx="0" cy="5316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5445332B-65BA-7F0D-63B5-98EAE6FC9194}"/>
                </a:ext>
              </a:extLst>
            </p:cNvPr>
            <p:cNvSpPr/>
            <p:nvPr/>
          </p:nvSpPr>
          <p:spPr>
            <a:xfrm>
              <a:off x="7222032" y="4756896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pic>
        <p:nvPicPr>
          <p:cNvPr id="155" name="Picture 154">
            <a:extLst>
              <a:ext uri="{FF2B5EF4-FFF2-40B4-BE49-F238E27FC236}">
                <a16:creationId xmlns:a16="http://schemas.microsoft.com/office/drawing/2014/main" id="{0DADCB76-2B11-1F05-1EDE-5A03460B04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25696" y="2140054"/>
            <a:ext cx="2101499" cy="2915172"/>
          </a:xfrm>
          <a:prstGeom prst="rect">
            <a:avLst/>
          </a:prstGeom>
        </p:spPr>
      </p:pic>
      <p:grpSp>
        <p:nvGrpSpPr>
          <p:cNvPr id="156" name="Group 155">
            <a:extLst>
              <a:ext uri="{FF2B5EF4-FFF2-40B4-BE49-F238E27FC236}">
                <a16:creationId xmlns:a16="http://schemas.microsoft.com/office/drawing/2014/main" id="{C339E645-9479-FDE0-37E1-E8E365837CE2}"/>
              </a:ext>
            </a:extLst>
          </p:cNvPr>
          <p:cNvGrpSpPr/>
          <p:nvPr/>
        </p:nvGrpSpPr>
        <p:grpSpPr>
          <a:xfrm>
            <a:off x="10001685" y="4103284"/>
            <a:ext cx="2110573" cy="1763976"/>
            <a:chOff x="4031520" y="2119207"/>
            <a:chExt cx="2110573" cy="1763976"/>
          </a:xfrm>
        </p:grpSpPr>
        <p:sp>
          <p:nvSpPr>
            <p:cNvPr id="157" name="Google Shape;229;g370fc456c4b_0_4">
              <a:extLst>
                <a:ext uri="{FF2B5EF4-FFF2-40B4-BE49-F238E27FC236}">
                  <a16:creationId xmlns:a16="http://schemas.microsoft.com/office/drawing/2014/main" id="{D08B3E51-8516-550F-5D74-7FD516D588A4}"/>
                </a:ext>
              </a:extLst>
            </p:cNvPr>
            <p:cNvSpPr/>
            <p:nvPr/>
          </p:nvSpPr>
          <p:spPr>
            <a:xfrm>
              <a:off x="4031520" y="2119207"/>
              <a:ext cx="2110573" cy="64182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8" name="Google Shape;230;g370fc456c4b_0_4">
              <a:extLst>
                <a:ext uri="{FF2B5EF4-FFF2-40B4-BE49-F238E27FC236}">
                  <a16:creationId xmlns:a16="http://schemas.microsoft.com/office/drawing/2014/main" id="{8CE8CD91-6794-4F86-2A8B-03BE39412BC7}"/>
                </a:ext>
              </a:extLst>
            </p:cNvPr>
            <p:cNvCxnSpPr>
              <a:cxnSpLocks/>
              <a:stCxn id="159" idx="0"/>
            </p:cNvCxnSpPr>
            <p:nvPr/>
          </p:nvCxnSpPr>
          <p:spPr>
            <a:xfrm flipV="1">
              <a:off x="5058651" y="2761034"/>
              <a:ext cx="0" cy="83467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7EAD23B9-2934-282D-BF3F-663B076B3943}"/>
                </a:ext>
              </a:extLst>
            </p:cNvPr>
            <p:cNvSpPr/>
            <p:nvPr/>
          </p:nvSpPr>
          <p:spPr>
            <a:xfrm>
              <a:off x="4726482" y="3595711"/>
              <a:ext cx="66433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5BFB681D-A685-0E9E-6D31-634A6B1B8029}"/>
              </a:ext>
            </a:extLst>
          </p:cNvPr>
          <p:cNvGrpSpPr/>
          <p:nvPr/>
        </p:nvGrpSpPr>
        <p:grpSpPr>
          <a:xfrm>
            <a:off x="9894909" y="4410880"/>
            <a:ext cx="470535" cy="953652"/>
            <a:chOff x="7881740" y="2680543"/>
            <a:chExt cx="470535" cy="953652"/>
          </a:xfrm>
        </p:grpSpPr>
        <p:sp>
          <p:nvSpPr>
            <p:cNvPr id="163" name="Google Shape;229;g370fc456c4b_0_4">
              <a:extLst>
                <a:ext uri="{FF2B5EF4-FFF2-40B4-BE49-F238E27FC236}">
                  <a16:creationId xmlns:a16="http://schemas.microsoft.com/office/drawing/2014/main" id="{64C27259-DF04-6C40-0772-0125E456A910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4" name="Google Shape;230;g370fc456c4b_0_4">
              <a:extLst>
                <a:ext uri="{FF2B5EF4-FFF2-40B4-BE49-F238E27FC236}">
                  <a16:creationId xmlns:a16="http://schemas.microsoft.com/office/drawing/2014/main" id="{E25C7A45-2C71-F9FE-485B-80AD5533E3BF}"/>
                </a:ext>
              </a:extLst>
            </p:cNvPr>
            <p:cNvCxnSpPr>
              <a:cxnSpLocks/>
              <a:endCxn id="163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5" name="Rectangle: Rounded Corners 164">
              <a:extLst>
                <a:ext uri="{FF2B5EF4-FFF2-40B4-BE49-F238E27FC236}">
                  <a16:creationId xmlns:a16="http://schemas.microsoft.com/office/drawing/2014/main" id="{88C56B0E-89B9-9FBD-18D0-576E37A4D23C}"/>
                </a:ext>
              </a:extLst>
            </p:cNvPr>
            <p:cNvSpPr/>
            <p:nvPr/>
          </p:nvSpPr>
          <p:spPr>
            <a:xfrm>
              <a:off x="7881740" y="3417875"/>
              <a:ext cx="470535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CF003423-2456-B20A-0F67-9DB9858FE5D4}"/>
              </a:ext>
            </a:extLst>
          </p:cNvPr>
          <p:cNvGrpSpPr/>
          <p:nvPr/>
        </p:nvGrpSpPr>
        <p:grpSpPr>
          <a:xfrm>
            <a:off x="11184995" y="4403883"/>
            <a:ext cx="757864" cy="958659"/>
            <a:chOff x="7732654" y="2680543"/>
            <a:chExt cx="757864" cy="958659"/>
          </a:xfrm>
        </p:grpSpPr>
        <p:sp>
          <p:nvSpPr>
            <p:cNvPr id="181" name="Google Shape;229;g370fc456c4b_0_4">
              <a:extLst>
                <a:ext uri="{FF2B5EF4-FFF2-40B4-BE49-F238E27FC236}">
                  <a16:creationId xmlns:a16="http://schemas.microsoft.com/office/drawing/2014/main" id="{D0A5FE13-8033-EF6C-12C4-1AA270B373FA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2" name="Google Shape;230;g370fc456c4b_0_4">
              <a:extLst>
                <a:ext uri="{FF2B5EF4-FFF2-40B4-BE49-F238E27FC236}">
                  <a16:creationId xmlns:a16="http://schemas.microsoft.com/office/drawing/2014/main" id="{D27C563F-C398-A877-EB3D-29FBC7CD89E1}"/>
                </a:ext>
              </a:extLst>
            </p:cNvPr>
            <p:cNvCxnSpPr>
              <a:cxnSpLocks/>
              <a:endCxn id="181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3" name="Rectangle: Rounded Corners 182">
              <a:extLst>
                <a:ext uri="{FF2B5EF4-FFF2-40B4-BE49-F238E27FC236}">
                  <a16:creationId xmlns:a16="http://schemas.microsoft.com/office/drawing/2014/main" id="{51DAA871-715C-70D5-A5C9-128C61A7751E}"/>
                </a:ext>
              </a:extLst>
            </p:cNvPr>
            <p:cNvSpPr/>
            <p:nvPr/>
          </p:nvSpPr>
          <p:spPr>
            <a:xfrm>
              <a:off x="7732654" y="3422882"/>
              <a:ext cx="7578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Hex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7B3A4D69-7480-6153-2672-52425CFE3FF2}"/>
              </a:ext>
            </a:extLst>
          </p:cNvPr>
          <p:cNvGrpSpPr/>
          <p:nvPr/>
        </p:nvGrpSpPr>
        <p:grpSpPr>
          <a:xfrm>
            <a:off x="4520098" y="1845944"/>
            <a:ext cx="1213395" cy="1472666"/>
            <a:chOff x="3565103" y="760606"/>
            <a:chExt cx="1213395" cy="1472666"/>
          </a:xfrm>
        </p:grpSpPr>
        <p:sp>
          <p:nvSpPr>
            <p:cNvPr id="187" name="Google Shape;229;g370fc456c4b_0_4">
              <a:extLst>
                <a:ext uri="{FF2B5EF4-FFF2-40B4-BE49-F238E27FC236}">
                  <a16:creationId xmlns:a16="http://schemas.microsoft.com/office/drawing/2014/main" id="{465546AB-BC64-5D4E-8024-37EEF8FE0D9C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8" name="Google Shape;230;g370fc456c4b_0_4">
              <a:extLst>
                <a:ext uri="{FF2B5EF4-FFF2-40B4-BE49-F238E27FC236}">
                  <a16:creationId xmlns:a16="http://schemas.microsoft.com/office/drawing/2014/main" id="{85BE3FE7-C217-975E-3737-27E7F6B6563D}"/>
                </a:ext>
              </a:extLst>
            </p:cNvPr>
            <p:cNvCxnSpPr>
              <a:cxnSpLocks/>
              <a:endCxn id="187" idx="0"/>
            </p:cNvCxnSpPr>
            <p:nvPr/>
          </p:nvCxnSpPr>
          <p:spPr>
            <a:xfrm>
              <a:off x="4198263" y="1063961"/>
              <a:ext cx="15760" cy="99074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9" name="Rectangle: Rounded Corners 188">
              <a:extLst>
                <a:ext uri="{FF2B5EF4-FFF2-40B4-BE49-F238E27FC236}">
                  <a16:creationId xmlns:a16="http://schemas.microsoft.com/office/drawing/2014/main" id="{4EF11C9B-A83D-07B2-0DE2-3CEE5D4117E2}"/>
                </a:ext>
              </a:extLst>
            </p:cNvPr>
            <p:cNvSpPr/>
            <p:nvPr/>
          </p:nvSpPr>
          <p:spPr>
            <a:xfrm>
              <a:off x="3565103" y="760606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pic>
        <p:nvPicPr>
          <p:cNvPr id="201" name="Picture 200">
            <a:extLst>
              <a:ext uri="{FF2B5EF4-FFF2-40B4-BE49-F238E27FC236}">
                <a16:creationId xmlns:a16="http://schemas.microsoft.com/office/drawing/2014/main" id="{CBB874F6-D842-FBF8-018B-5C6A70FAB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7815" y="3119394"/>
            <a:ext cx="676369" cy="619211"/>
          </a:xfrm>
          <a:prstGeom prst="rect">
            <a:avLst/>
          </a:prstGeom>
        </p:spPr>
      </p:pic>
      <p:grpSp>
        <p:nvGrpSpPr>
          <p:cNvPr id="194" name="Group 193">
            <a:extLst>
              <a:ext uri="{FF2B5EF4-FFF2-40B4-BE49-F238E27FC236}">
                <a16:creationId xmlns:a16="http://schemas.microsoft.com/office/drawing/2014/main" id="{9E0B76C2-4EF3-5041-4344-409F2F7EE7A0}"/>
              </a:ext>
            </a:extLst>
          </p:cNvPr>
          <p:cNvGrpSpPr/>
          <p:nvPr/>
        </p:nvGrpSpPr>
        <p:grpSpPr>
          <a:xfrm>
            <a:off x="204624" y="2919669"/>
            <a:ext cx="3040825" cy="223354"/>
            <a:chOff x="5745969" y="4355580"/>
            <a:chExt cx="3040825" cy="223354"/>
          </a:xfrm>
        </p:grpSpPr>
        <p:sp>
          <p:nvSpPr>
            <p:cNvPr id="195" name="Google Shape;229;g370fc456c4b_0_4">
              <a:extLst>
                <a:ext uri="{FF2B5EF4-FFF2-40B4-BE49-F238E27FC236}">
                  <a16:creationId xmlns:a16="http://schemas.microsoft.com/office/drawing/2014/main" id="{4066617D-11F1-6A50-6EB2-4A470CE9FCCC}"/>
                </a:ext>
              </a:extLst>
            </p:cNvPr>
            <p:cNvSpPr/>
            <p:nvPr/>
          </p:nvSpPr>
          <p:spPr>
            <a:xfrm>
              <a:off x="5745969" y="4355580"/>
              <a:ext cx="1204794" cy="1990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6" name="Google Shape;230;g370fc456c4b_0_4">
              <a:extLst>
                <a:ext uri="{FF2B5EF4-FFF2-40B4-BE49-F238E27FC236}">
                  <a16:creationId xmlns:a16="http://schemas.microsoft.com/office/drawing/2014/main" id="{A4217E8C-AFE6-22BD-986E-862EDFC4525B}"/>
                </a:ext>
              </a:extLst>
            </p:cNvPr>
            <p:cNvCxnSpPr>
              <a:cxnSpLocks/>
              <a:endCxn id="195" idx="3"/>
            </p:cNvCxnSpPr>
            <p:nvPr/>
          </p:nvCxnSpPr>
          <p:spPr>
            <a:xfrm flipH="1" flipV="1">
              <a:off x="6950763" y="4455089"/>
              <a:ext cx="976650" cy="86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7" name="Rectangle: Rounded Corners 196">
              <a:extLst>
                <a:ext uri="{FF2B5EF4-FFF2-40B4-BE49-F238E27FC236}">
                  <a16:creationId xmlns:a16="http://schemas.microsoft.com/office/drawing/2014/main" id="{AF50254C-A7C8-3C89-20A9-8FA5E9C058FE}"/>
                </a:ext>
              </a:extLst>
            </p:cNvPr>
            <p:cNvSpPr/>
            <p:nvPr/>
          </p:nvSpPr>
          <p:spPr>
            <a:xfrm>
              <a:off x="7924591" y="4362614"/>
              <a:ext cx="86220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080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36314-2448-A146-FDAB-FD6B17308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769963-7A3A-D228-9F2D-75B264253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STAGE, CARD RELATIONSHIP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C24754-C63D-6765-EF1D-F09D90B45D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938" y="1629920"/>
            <a:ext cx="9697803" cy="2695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25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2BF4EEF-2DF9-41C3-7792-A6A74633516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530952-2482-74AC-D2D9-CC99D4037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FE4C7E-7CEC-F0F3-AD3F-983E402144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399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6DFAF37-36A1-A817-18F7-9B949EFC2133}"/>
              </a:ext>
            </a:extLst>
          </p:cNvPr>
          <p:cNvGrpSpPr/>
          <p:nvPr/>
        </p:nvGrpSpPr>
        <p:grpSpPr>
          <a:xfrm>
            <a:off x="694468" y="1483849"/>
            <a:ext cx="9676125" cy="5098846"/>
            <a:chOff x="2899185" y="2003250"/>
            <a:chExt cx="9676125" cy="5098846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8D9BE8B9-0F07-0D0D-3EAA-55ABDB64F95B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DC30BF09-91D0-CBFE-4C88-029858403D2D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>
              <a:off x="3571563" y="2696580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52D3E1-225C-0FB9-F4E0-3187A99323C2}"/>
                </a:ext>
              </a:extLst>
            </p:cNvPr>
            <p:cNvSpPr/>
            <p:nvPr/>
          </p:nvSpPr>
          <p:spPr>
            <a:xfrm>
              <a:off x="2899185" y="2552844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B65F07-7F7C-E859-C709-5D368C1191F9}"/>
              </a:ext>
            </a:extLst>
          </p:cNvPr>
          <p:cNvGrpSpPr/>
          <p:nvPr/>
        </p:nvGrpSpPr>
        <p:grpSpPr>
          <a:xfrm>
            <a:off x="630409" y="3898156"/>
            <a:ext cx="3598254" cy="998883"/>
            <a:chOff x="2042681" y="1919594"/>
            <a:chExt cx="3598254" cy="998883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78D34FE6-6575-3B95-0121-F88DDE894859}"/>
                </a:ext>
              </a:extLst>
            </p:cNvPr>
            <p:cNvSpPr/>
            <p:nvPr/>
          </p:nvSpPr>
          <p:spPr>
            <a:xfrm>
              <a:off x="5065439" y="1919594"/>
              <a:ext cx="575496" cy="27023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6DECA183-C462-0D2B-7A9E-A0CE2073F13F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flipV="1">
              <a:off x="2723317" y="2189826"/>
              <a:ext cx="2629870" cy="5849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336F45F-C870-8CCD-A703-6153BDFDE5EC}"/>
                </a:ext>
              </a:extLst>
            </p:cNvPr>
            <p:cNvSpPr/>
            <p:nvPr/>
          </p:nvSpPr>
          <p:spPr>
            <a:xfrm>
              <a:off x="2042681" y="2631005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05C64C-0827-E6BF-D292-33827B0BEA75}"/>
              </a:ext>
            </a:extLst>
          </p:cNvPr>
          <p:cNvGrpSpPr/>
          <p:nvPr/>
        </p:nvGrpSpPr>
        <p:grpSpPr>
          <a:xfrm>
            <a:off x="344740" y="3462066"/>
            <a:ext cx="5252977" cy="958857"/>
            <a:chOff x="598531" y="1363940"/>
            <a:chExt cx="5252977" cy="958857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A281EC3F-A407-EA97-7B30-0B176B782666}"/>
                </a:ext>
              </a:extLst>
            </p:cNvPr>
            <p:cNvSpPr/>
            <p:nvPr/>
          </p:nvSpPr>
          <p:spPr>
            <a:xfrm>
              <a:off x="3442263" y="1520076"/>
              <a:ext cx="2409245" cy="80272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BB1B90E2-FF71-8D3A-3CA2-993F8FDA094D}"/>
                </a:ext>
              </a:extLst>
            </p:cNvPr>
            <p:cNvCxnSpPr>
              <a:cxnSpLocks/>
              <a:stCxn id="19" idx="3"/>
            </p:cNvCxnSpPr>
            <p:nvPr/>
          </p:nvCxnSpPr>
          <p:spPr>
            <a:xfrm>
              <a:off x="1636559" y="1507676"/>
              <a:ext cx="1473586" cy="13088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E5D37EF-C4E3-4959-9BB2-7B0F9A07E8C9}"/>
                </a:ext>
              </a:extLst>
            </p:cNvPr>
            <p:cNvSpPr/>
            <p:nvPr/>
          </p:nvSpPr>
          <p:spPr>
            <a:xfrm>
              <a:off x="598531" y="1363940"/>
              <a:ext cx="1038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abel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EA5F8B9-ABB9-53D7-A600-7795B05C8FB8}"/>
              </a:ext>
            </a:extLst>
          </p:cNvPr>
          <p:cNvGrpSpPr/>
          <p:nvPr/>
        </p:nvGrpSpPr>
        <p:grpSpPr>
          <a:xfrm>
            <a:off x="1999804" y="1526691"/>
            <a:ext cx="1653363" cy="287472"/>
            <a:chOff x="6580814" y="4323685"/>
            <a:chExt cx="1653363" cy="287472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245B830-A525-F479-697A-DAA2E69213F8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6AE20E8B-4534-7883-1DA5-072216FAF8B1}"/>
                </a:ext>
              </a:extLst>
            </p:cNvPr>
            <p:cNvCxnSpPr>
              <a:cxnSpLocks/>
              <a:endCxn id="21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6DBD470-ACB3-19BC-AC3B-F068A478BBEF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AF03E1-C8F5-B4B8-9C23-226F1ECEBEB0}"/>
              </a:ext>
            </a:extLst>
          </p:cNvPr>
          <p:cNvGrpSpPr/>
          <p:nvPr/>
        </p:nvGrpSpPr>
        <p:grpSpPr>
          <a:xfrm>
            <a:off x="2478752" y="2023715"/>
            <a:ext cx="2762383" cy="287472"/>
            <a:chOff x="6527964" y="4323685"/>
            <a:chExt cx="2762383" cy="287472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6A80C88C-7D3D-D2AF-C7B8-DA3880A079B3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F6B8CE5E-FAD5-83B2-D776-72E85EA7FB00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8A7E582-4BD8-D76C-8963-934B2390E159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9D6C2E9-4367-0067-8DF8-59FD9EBDD149}"/>
              </a:ext>
            </a:extLst>
          </p:cNvPr>
          <p:cNvSpPr/>
          <p:nvPr/>
        </p:nvSpPr>
        <p:spPr>
          <a:xfrm>
            <a:off x="698992" y="146872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AB260-D264-3B12-266A-AF736180FD89}"/>
              </a:ext>
            </a:extLst>
          </p:cNvPr>
          <p:cNvGrpSpPr/>
          <p:nvPr/>
        </p:nvGrpSpPr>
        <p:grpSpPr>
          <a:xfrm>
            <a:off x="4761639" y="2781730"/>
            <a:ext cx="870678" cy="1565121"/>
            <a:chOff x="5017867" y="779843"/>
            <a:chExt cx="870678" cy="1565121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C6D2D7FE-E245-1BF8-988F-B0DA793DD29C}"/>
                </a:ext>
              </a:extLst>
            </p:cNvPr>
            <p:cNvSpPr/>
            <p:nvPr/>
          </p:nvSpPr>
          <p:spPr>
            <a:xfrm>
              <a:off x="5017867" y="1760049"/>
              <a:ext cx="479496" cy="5849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85550ABB-ECFC-21CE-75D0-C7C3A8C21530}"/>
                </a:ext>
              </a:extLst>
            </p:cNvPr>
            <p:cNvCxnSpPr>
              <a:cxnSpLocks/>
              <a:stCxn id="38" idx="2"/>
              <a:endCxn id="36" idx="0"/>
            </p:cNvCxnSpPr>
            <p:nvPr/>
          </p:nvCxnSpPr>
          <p:spPr>
            <a:xfrm flipH="1">
              <a:off x="5257615" y="1067315"/>
              <a:ext cx="290612" cy="6927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358077FF-4CAF-5596-74D0-0D2F083B296E}"/>
                </a:ext>
              </a:extLst>
            </p:cNvPr>
            <p:cNvSpPr/>
            <p:nvPr/>
          </p:nvSpPr>
          <p:spPr>
            <a:xfrm>
              <a:off x="5207909" y="779843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5633448-11FD-FB6A-3F94-B760B6596741}"/>
              </a:ext>
            </a:extLst>
          </p:cNvPr>
          <p:cNvGrpSpPr/>
          <p:nvPr/>
        </p:nvGrpSpPr>
        <p:grpSpPr>
          <a:xfrm>
            <a:off x="4848307" y="3210938"/>
            <a:ext cx="1759227" cy="927012"/>
            <a:chOff x="6607272" y="3631596"/>
            <a:chExt cx="1759227" cy="92701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D12D096-33B4-CD56-C6B2-73D501E638DA}"/>
                </a:ext>
              </a:extLst>
            </p:cNvPr>
            <p:cNvSpPr/>
            <p:nvPr/>
          </p:nvSpPr>
          <p:spPr>
            <a:xfrm>
              <a:off x="6607272" y="4374444"/>
              <a:ext cx="211303" cy="1841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5D601521-B467-7F12-9E31-BD5878A5EC7A}"/>
                </a:ext>
              </a:extLst>
            </p:cNvPr>
            <p:cNvCxnSpPr>
              <a:cxnSpLocks/>
              <a:stCxn id="48" idx="1"/>
              <a:endCxn id="46" idx="3"/>
            </p:cNvCxnSpPr>
            <p:nvPr/>
          </p:nvCxnSpPr>
          <p:spPr>
            <a:xfrm flipH="1">
              <a:off x="6818575" y="3775332"/>
              <a:ext cx="661536" cy="6911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89BE7E1A-1E4D-C08E-E9B4-CD738F65C186}"/>
                </a:ext>
              </a:extLst>
            </p:cNvPr>
            <p:cNvSpPr/>
            <p:nvPr/>
          </p:nvSpPr>
          <p:spPr>
            <a:xfrm>
              <a:off x="7480111" y="3631596"/>
              <a:ext cx="88638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45D5321-A4B7-6821-472A-B12BE2D060D7}"/>
              </a:ext>
            </a:extLst>
          </p:cNvPr>
          <p:cNvGrpSpPr/>
          <p:nvPr/>
        </p:nvGrpSpPr>
        <p:grpSpPr>
          <a:xfrm>
            <a:off x="4833404" y="3637863"/>
            <a:ext cx="1901351" cy="546713"/>
            <a:chOff x="6438970" y="3934708"/>
            <a:chExt cx="1901351" cy="546713"/>
          </a:xfrm>
        </p:grpSpPr>
        <p:sp>
          <p:nvSpPr>
            <p:cNvPr id="57" name="Google Shape;229;g370fc456c4b_0_4">
              <a:extLst>
                <a:ext uri="{FF2B5EF4-FFF2-40B4-BE49-F238E27FC236}">
                  <a16:creationId xmlns:a16="http://schemas.microsoft.com/office/drawing/2014/main" id="{F4F68E05-6732-FAED-316E-54E7BCF905D3}"/>
                </a:ext>
              </a:extLst>
            </p:cNvPr>
            <p:cNvSpPr/>
            <p:nvPr/>
          </p:nvSpPr>
          <p:spPr>
            <a:xfrm>
              <a:off x="6438970" y="4202514"/>
              <a:ext cx="379605" cy="27890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8" name="Google Shape;230;g370fc456c4b_0_4">
              <a:extLst>
                <a:ext uri="{FF2B5EF4-FFF2-40B4-BE49-F238E27FC236}">
                  <a16:creationId xmlns:a16="http://schemas.microsoft.com/office/drawing/2014/main" id="{586DF30A-C0A2-E4A3-F831-ADB408DFBD34}"/>
                </a:ext>
              </a:extLst>
            </p:cNvPr>
            <p:cNvCxnSpPr>
              <a:cxnSpLocks/>
              <a:stCxn id="59" idx="1"/>
              <a:endCxn id="57" idx="3"/>
            </p:cNvCxnSpPr>
            <p:nvPr/>
          </p:nvCxnSpPr>
          <p:spPr>
            <a:xfrm flipH="1">
              <a:off x="6818575" y="4078444"/>
              <a:ext cx="508138" cy="2635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0C8E27F-B83D-4DC5-0608-E09F0ACD70AD}"/>
                </a:ext>
              </a:extLst>
            </p:cNvPr>
            <p:cNvSpPr/>
            <p:nvPr/>
          </p:nvSpPr>
          <p:spPr>
            <a:xfrm>
              <a:off x="7326713" y="3934708"/>
              <a:ext cx="101360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B6C1663-83D4-64F2-C358-19F24D8AC459}"/>
              </a:ext>
            </a:extLst>
          </p:cNvPr>
          <p:cNvGrpSpPr/>
          <p:nvPr/>
        </p:nvGrpSpPr>
        <p:grpSpPr>
          <a:xfrm>
            <a:off x="6985769" y="3210938"/>
            <a:ext cx="5093983" cy="834185"/>
            <a:chOff x="4754418" y="1454269"/>
            <a:chExt cx="5093983" cy="834185"/>
          </a:xfrm>
        </p:grpSpPr>
        <p:sp>
          <p:nvSpPr>
            <p:cNvPr id="71" name="Google Shape;229;g370fc456c4b_0_4">
              <a:extLst>
                <a:ext uri="{FF2B5EF4-FFF2-40B4-BE49-F238E27FC236}">
                  <a16:creationId xmlns:a16="http://schemas.microsoft.com/office/drawing/2014/main" id="{6A3B7D7B-5638-179E-60CA-49C4D386ED4B}"/>
                </a:ext>
              </a:extLst>
            </p:cNvPr>
            <p:cNvSpPr/>
            <p:nvPr/>
          </p:nvSpPr>
          <p:spPr>
            <a:xfrm>
              <a:off x="4754418" y="1454269"/>
              <a:ext cx="3279366" cy="8341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2" name="Google Shape;230;g370fc456c4b_0_4">
              <a:extLst>
                <a:ext uri="{FF2B5EF4-FFF2-40B4-BE49-F238E27FC236}">
                  <a16:creationId xmlns:a16="http://schemas.microsoft.com/office/drawing/2014/main" id="{5E68BCAB-C102-AC0A-F22A-C015250E94E0}"/>
                </a:ext>
              </a:extLst>
            </p:cNvPr>
            <p:cNvCxnSpPr>
              <a:cxnSpLocks/>
              <a:stCxn id="73" idx="1"/>
              <a:endCxn id="71" idx="3"/>
            </p:cNvCxnSpPr>
            <p:nvPr/>
          </p:nvCxnSpPr>
          <p:spPr>
            <a:xfrm flipH="1">
              <a:off x="8033784" y="1857774"/>
              <a:ext cx="703732" cy="135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AFEBA5C-5068-4B13-106F-C5C4387E2CEA}"/>
                </a:ext>
              </a:extLst>
            </p:cNvPr>
            <p:cNvSpPr/>
            <p:nvPr/>
          </p:nvSpPr>
          <p:spPr>
            <a:xfrm>
              <a:off x="8737516" y="1714038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A01AC88-613A-486B-6EC8-8CDD12E19539}"/>
              </a:ext>
            </a:extLst>
          </p:cNvPr>
          <p:cNvGrpSpPr/>
          <p:nvPr/>
        </p:nvGrpSpPr>
        <p:grpSpPr>
          <a:xfrm>
            <a:off x="7270922" y="3836168"/>
            <a:ext cx="4808830" cy="558107"/>
            <a:chOff x="5017867" y="1760051"/>
            <a:chExt cx="4808830" cy="558107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85129228-0ECF-44B3-7454-3E43762BA4EC}"/>
                </a:ext>
              </a:extLst>
            </p:cNvPr>
            <p:cNvSpPr/>
            <p:nvPr/>
          </p:nvSpPr>
          <p:spPr>
            <a:xfrm>
              <a:off x="5017867" y="1760051"/>
              <a:ext cx="378234" cy="18339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8C3EBC77-B795-4640-4D7D-AAED1507BB9B}"/>
                </a:ext>
              </a:extLst>
            </p:cNvPr>
            <p:cNvCxnSpPr>
              <a:cxnSpLocks/>
              <a:stCxn id="83" idx="1"/>
              <a:endCxn id="81" idx="3"/>
            </p:cNvCxnSpPr>
            <p:nvPr/>
          </p:nvCxnSpPr>
          <p:spPr>
            <a:xfrm flipH="1" flipV="1">
              <a:off x="5396101" y="1851749"/>
              <a:ext cx="3319711" cy="3226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C8C58509-D823-45DE-F190-411EFBF6178D}"/>
                </a:ext>
              </a:extLst>
            </p:cNvPr>
            <p:cNvSpPr/>
            <p:nvPr/>
          </p:nvSpPr>
          <p:spPr>
            <a:xfrm>
              <a:off x="8715812" y="2030686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action</a:t>
              </a:r>
              <a:endParaRPr lang="en-US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23E4099-EFBE-CE95-275D-BC0645BD0948}"/>
              </a:ext>
            </a:extLst>
          </p:cNvPr>
          <p:cNvGrpSpPr/>
          <p:nvPr/>
        </p:nvGrpSpPr>
        <p:grpSpPr>
          <a:xfrm>
            <a:off x="1999804" y="5070601"/>
            <a:ext cx="2218225" cy="287472"/>
            <a:chOff x="6527964" y="4317286"/>
            <a:chExt cx="2218225" cy="287472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75DD7C8D-88B4-5EF9-7A43-017E45C84A75}"/>
                </a:ext>
              </a:extLst>
            </p:cNvPr>
            <p:cNvSpPr/>
            <p:nvPr/>
          </p:nvSpPr>
          <p:spPr>
            <a:xfrm>
              <a:off x="6527964" y="4355580"/>
              <a:ext cx="738963" cy="2224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42DFABE8-8889-D9F2-120F-332896F7BE3B}"/>
                </a:ext>
              </a:extLst>
            </p:cNvPr>
            <p:cNvCxnSpPr>
              <a:cxnSpLocks/>
              <a:stCxn id="94" idx="1"/>
              <a:endCxn id="92" idx="3"/>
            </p:cNvCxnSpPr>
            <p:nvPr/>
          </p:nvCxnSpPr>
          <p:spPr>
            <a:xfrm flipH="1">
              <a:off x="7266927" y="4461022"/>
              <a:ext cx="309171" cy="576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274CFDA0-5AE1-5614-4E07-3FC0FABB5CBD}"/>
                </a:ext>
              </a:extLst>
            </p:cNvPr>
            <p:cNvSpPr/>
            <p:nvPr/>
          </p:nvSpPr>
          <p:spPr>
            <a:xfrm>
              <a:off x="7576098" y="4317286"/>
              <a:ext cx="117009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oca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D4A7C60-01EF-FC40-96D7-C10ADB4343F6}"/>
              </a:ext>
            </a:extLst>
          </p:cNvPr>
          <p:cNvGrpSpPr/>
          <p:nvPr/>
        </p:nvGrpSpPr>
        <p:grpSpPr>
          <a:xfrm>
            <a:off x="1999804" y="2591141"/>
            <a:ext cx="2228859" cy="287472"/>
            <a:chOff x="6527964" y="4318236"/>
            <a:chExt cx="2228859" cy="287472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8F68ED48-444C-F23B-796B-F3B99B07C29C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B31C7491-9620-525B-9C98-BA60BBDB8F60}"/>
                </a:ext>
              </a:extLst>
            </p:cNvPr>
            <p:cNvCxnSpPr>
              <a:cxnSpLocks/>
              <a:stCxn id="105" idx="1"/>
              <a:endCxn id="103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1381A9D0-87F6-CFD2-9810-200F52AB6EB1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62EA813-2987-D326-EA95-70E193C56C3D}"/>
              </a:ext>
            </a:extLst>
          </p:cNvPr>
          <p:cNvGrpSpPr/>
          <p:nvPr/>
        </p:nvGrpSpPr>
        <p:grpSpPr>
          <a:xfrm>
            <a:off x="467034" y="3751959"/>
            <a:ext cx="2649966" cy="478213"/>
            <a:chOff x="1799606" y="1520076"/>
            <a:chExt cx="2649966" cy="478213"/>
          </a:xfrm>
        </p:grpSpPr>
        <p:sp>
          <p:nvSpPr>
            <p:cNvPr id="113" name="Google Shape;229;g370fc456c4b_0_4">
              <a:extLst>
                <a:ext uri="{FF2B5EF4-FFF2-40B4-BE49-F238E27FC236}">
                  <a16:creationId xmlns:a16="http://schemas.microsoft.com/office/drawing/2014/main" id="{A9D04126-0F7E-1A69-D0AF-39CA8A851C89}"/>
                </a:ext>
              </a:extLst>
            </p:cNvPr>
            <p:cNvSpPr/>
            <p:nvPr/>
          </p:nvSpPr>
          <p:spPr>
            <a:xfrm>
              <a:off x="3565236" y="1520076"/>
              <a:ext cx="884336" cy="47821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4" name="Google Shape;230;g370fc456c4b_0_4">
              <a:extLst>
                <a:ext uri="{FF2B5EF4-FFF2-40B4-BE49-F238E27FC236}">
                  <a16:creationId xmlns:a16="http://schemas.microsoft.com/office/drawing/2014/main" id="{CD8F7D08-5E33-4F97-7350-3B1944051642}"/>
                </a:ext>
              </a:extLst>
            </p:cNvPr>
            <p:cNvCxnSpPr>
              <a:cxnSpLocks/>
              <a:stCxn id="115" idx="3"/>
            </p:cNvCxnSpPr>
            <p:nvPr/>
          </p:nvCxnSpPr>
          <p:spPr>
            <a:xfrm flipV="1">
              <a:off x="2699417" y="1751720"/>
              <a:ext cx="865818" cy="2736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6E0A5C31-9D20-540F-FB7D-34734C77A120}"/>
                </a:ext>
              </a:extLst>
            </p:cNvPr>
            <p:cNvSpPr/>
            <p:nvPr/>
          </p:nvSpPr>
          <p:spPr>
            <a:xfrm>
              <a:off x="1799606" y="1635347"/>
              <a:ext cx="8998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83214D3A-0040-CA10-8B9B-7E811CD518EA}"/>
              </a:ext>
            </a:extLst>
          </p:cNvPr>
          <p:cNvSpPr/>
          <p:nvPr/>
        </p:nvSpPr>
        <p:spPr>
          <a:xfrm>
            <a:off x="455985" y="2594225"/>
            <a:ext cx="910860" cy="281303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  <a:endParaRPr lang="en-US" dirty="0"/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1EBD565-80CC-4AA7-879F-F9BBE9C482E7}"/>
              </a:ext>
            </a:extLst>
          </p:cNvPr>
          <p:cNvGrpSpPr/>
          <p:nvPr/>
        </p:nvGrpSpPr>
        <p:grpSpPr>
          <a:xfrm>
            <a:off x="7831647" y="2952467"/>
            <a:ext cx="1823905" cy="518240"/>
            <a:chOff x="6438970" y="3934708"/>
            <a:chExt cx="1823905" cy="518240"/>
          </a:xfrm>
        </p:grpSpPr>
        <p:sp>
          <p:nvSpPr>
            <p:cNvPr id="128" name="Google Shape;229;g370fc456c4b_0_4">
              <a:extLst>
                <a:ext uri="{FF2B5EF4-FFF2-40B4-BE49-F238E27FC236}">
                  <a16:creationId xmlns:a16="http://schemas.microsoft.com/office/drawing/2014/main" id="{3057FB25-6073-9BFB-17FB-E4DD4A07C97D}"/>
                </a:ext>
              </a:extLst>
            </p:cNvPr>
            <p:cNvSpPr/>
            <p:nvPr/>
          </p:nvSpPr>
          <p:spPr>
            <a:xfrm>
              <a:off x="6438970" y="4281753"/>
              <a:ext cx="379605" cy="17119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9" name="Google Shape;230;g370fc456c4b_0_4">
              <a:extLst>
                <a:ext uri="{FF2B5EF4-FFF2-40B4-BE49-F238E27FC236}">
                  <a16:creationId xmlns:a16="http://schemas.microsoft.com/office/drawing/2014/main" id="{8673ED05-E282-2935-BEE9-3D870728E37D}"/>
                </a:ext>
              </a:extLst>
            </p:cNvPr>
            <p:cNvCxnSpPr>
              <a:cxnSpLocks/>
              <a:stCxn id="130" idx="1"/>
              <a:endCxn id="128" idx="3"/>
            </p:cNvCxnSpPr>
            <p:nvPr/>
          </p:nvCxnSpPr>
          <p:spPr>
            <a:xfrm flipH="1">
              <a:off x="6818575" y="4078444"/>
              <a:ext cx="508138" cy="28890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520F1FF7-F4BB-E6DA-A2B1-6379BA80D9D9}"/>
                </a:ext>
              </a:extLst>
            </p:cNvPr>
            <p:cNvSpPr/>
            <p:nvPr/>
          </p:nvSpPr>
          <p:spPr>
            <a:xfrm>
              <a:off x="7326713" y="3934708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584038B-6753-2C63-7E4F-F2B463E62542}"/>
              </a:ext>
            </a:extLst>
          </p:cNvPr>
          <p:cNvGrpSpPr/>
          <p:nvPr/>
        </p:nvGrpSpPr>
        <p:grpSpPr>
          <a:xfrm>
            <a:off x="7333029" y="3484294"/>
            <a:ext cx="2605219" cy="287472"/>
            <a:chOff x="6438970" y="4262332"/>
            <a:chExt cx="2605219" cy="287472"/>
          </a:xfrm>
        </p:grpSpPr>
        <p:sp>
          <p:nvSpPr>
            <p:cNvPr id="135" name="Google Shape;229;g370fc456c4b_0_4">
              <a:extLst>
                <a:ext uri="{FF2B5EF4-FFF2-40B4-BE49-F238E27FC236}">
                  <a16:creationId xmlns:a16="http://schemas.microsoft.com/office/drawing/2014/main" id="{0B96419C-F764-7E85-51E8-291B77EF245D}"/>
                </a:ext>
              </a:extLst>
            </p:cNvPr>
            <p:cNvSpPr/>
            <p:nvPr/>
          </p:nvSpPr>
          <p:spPr>
            <a:xfrm>
              <a:off x="6438970" y="4281753"/>
              <a:ext cx="1125886" cy="2458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6" name="Google Shape;230;g370fc456c4b_0_4">
              <a:extLst>
                <a:ext uri="{FF2B5EF4-FFF2-40B4-BE49-F238E27FC236}">
                  <a16:creationId xmlns:a16="http://schemas.microsoft.com/office/drawing/2014/main" id="{C41A81BC-F5B3-6D56-1E20-14C29D435990}"/>
                </a:ext>
              </a:extLst>
            </p:cNvPr>
            <p:cNvCxnSpPr>
              <a:cxnSpLocks/>
              <a:stCxn id="137" idx="1"/>
              <a:endCxn id="135" idx="3"/>
            </p:cNvCxnSpPr>
            <p:nvPr/>
          </p:nvCxnSpPr>
          <p:spPr>
            <a:xfrm flipH="1" flipV="1">
              <a:off x="7564856" y="4404665"/>
              <a:ext cx="543171" cy="14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051ACD8A-EA58-39F0-5F60-417F132C743A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ten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F755CF86-430E-5D1D-3664-614C4922F54C}"/>
              </a:ext>
            </a:extLst>
          </p:cNvPr>
          <p:cNvGrpSpPr/>
          <p:nvPr/>
        </p:nvGrpSpPr>
        <p:grpSpPr>
          <a:xfrm>
            <a:off x="2265896" y="4616638"/>
            <a:ext cx="3817077" cy="985209"/>
            <a:chOff x="6527964" y="4355579"/>
            <a:chExt cx="3817077" cy="985209"/>
          </a:xfrm>
        </p:grpSpPr>
        <p:sp>
          <p:nvSpPr>
            <p:cNvPr id="146" name="Google Shape;229;g370fc456c4b_0_4">
              <a:extLst>
                <a:ext uri="{FF2B5EF4-FFF2-40B4-BE49-F238E27FC236}">
                  <a16:creationId xmlns:a16="http://schemas.microsoft.com/office/drawing/2014/main" id="{D89523E0-AFA8-DA3F-181A-E71D8C5AE055}"/>
                </a:ext>
              </a:extLst>
            </p:cNvPr>
            <p:cNvSpPr/>
            <p:nvPr/>
          </p:nvSpPr>
          <p:spPr>
            <a:xfrm>
              <a:off x="6527964" y="4355579"/>
              <a:ext cx="366577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7" name="Google Shape;230;g370fc456c4b_0_4">
              <a:extLst>
                <a:ext uri="{FF2B5EF4-FFF2-40B4-BE49-F238E27FC236}">
                  <a16:creationId xmlns:a16="http://schemas.microsoft.com/office/drawing/2014/main" id="{D33167D5-0F63-1FFF-0435-B95CDA8343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605758" y="4619102"/>
              <a:ext cx="0" cy="4342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8" name="Rectangle: Rounded Corners 147">
              <a:extLst>
                <a:ext uri="{FF2B5EF4-FFF2-40B4-BE49-F238E27FC236}">
                  <a16:creationId xmlns:a16="http://schemas.microsoft.com/office/drawing/2014/main" id="{4B25BE0F-FD60-32F9-C49F-7B5A1EA4D247}"/>
                </a:ext>
              </a:extLst>
            </p:cNvPr>
            <p:cNvSpPr/>
            <p:nvPr/>
          </p:nvSpPr>
          <p:spPr>
            <a:xfrm>
              <a:off x="8959851" y="5053316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488B0748-F27C-F420-8FE2-8C417941ACC3}"/>
              </a:ext>
            </a:extLst>
          </p:cNvPr>
          <p:cNvGrpSpPr/>
          <p:nvPr/>
        </p:nvGrpSpPr>
        <p:grpSpPr>
          <a:xfrm>
            <a:off x="7021390" y="2503150"/>
            <a:ext cx="760602" cy="995260"/>
            <a:chOff x="5017867" y="956139"/>
            <a:chExt cx="760602" cy="995260"/>
          </a:xfrm>
        </p:grpSpPr>
        <p:sp>
          <p:nvSpPr>
            <p:cNvPr id="164" name="Google Shape;229;g370fc456c4b_0_4">
              <a:extLst>
                <a:ext uri="{FF2B5EF4-FFF2-40B4-BE49-F238E27FC236}">
                  <a16:creationId xmlns:a16="http://schemas.microsoft.com/office/drawing/2014/main" id="{A5DF9683-4410-5B50-04C7-AE8B95C7C49D}"/>
                </a:ext>
              </a:extLst>
            </p:cNvPr>
            <p:cNvSpPr/>
            <p:nvPr/>
          </p:nvSpPr>
          <p:spPr>
            <a:xfrm>
              <a:off x="5017867" y="1760051"/>
              <a:ext cx="760602" cy="19134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5" name="Google Shape;230;g370fc456c4b_0_4">
              <a:extLst>
                <a:ext uri="{FF2B5EF4-FFF2-40B4-BE49-F238E27FC236}">
                  <a16:creationId xmlns:a16="http://schemas.microsoft.com/office/drawing/2014/main" id="{ECB8F4FB-EB50-C38F-9201-1FB479A17538}"/>
                </a:ext>
              </a:extLst>
            </p:cNvPr>
            <p:cNvCxnSpPr>
              <a:cxnSpLocks/>
              <a:stCxn id="166" idx="2"/>
              <a:endCxn id="164" idx="0"/>
            </p:cNvCxnSpPr>
            <p:nvPr/>
          </p:nvCxnSpPr>
          <p:spPr>
            <a:xfrm>
              <a:off x="5398168" y="1243611"/>
              <a:ext cx="0" cy="51644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6" name="Rectangle: Rounded Corners 165">
              <a:extLst>
                <a:ext uri="{FF2B5EF4-FFF2-40B4-BE49-F238E27FC236}">
                  <a16:creationId xmlns:a16="http://schemas.microsoft.com/office/drawing/2014/main" id="{E1BE32C1-EC0B-D048-9A86-7F5338117408}"/>
                </a:ext>
              </a:extLst>
            </p:cNvPr>
            <p:cNvSpPr/>
            <p:nvPr/>
          </p:nvSpPr>
          <p:spPr>
            <a:xfrm>
              <a:off x="5106142" y="956139"/>
              <a:ext cx="58405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C476099A-B9BB-DD3C-4889-51140DC1A2AE}"/>
              </a:ext>
            </a:extLst>
          </p:cNvPr>
          <p:cNvGrpSpPr/>
          <p:nvPr/>
        </p:nvGrpSpPr>
        <p:grpSpPr>
          <a:xfrm>
            <a:off x="7264448" y="4173512"/>
            <a:ext cx="4438920" cy="2239480"/>
            <a:chOff x="5316728" y="1760051"/>
            <a:chExt cx="4438920" cy="2239480"/>
          </a:xfrm>
        </p:grpSpPr>
        <p:sp>
          <p:nvSpPr>
            <p:cNvPr id="182" name="Google Shape;229;g370fc456c4b_0_4">
              <a:extLst>
                <a:ext uri="{FF2B5EF4-FFF2-40B4-BE49-F238E27FC236}">
                  <a16:creationId xmlns:a16="http://schemas.microsoft.com/office/drawing/2014/main" id="{24B1109E-B75E-99D2-ECE5-42A797A43C13}"/>
                </a:ext>
              </a:extLst>
            </p:cNvPr>
            <p:cNvSpPr/>
            <p:nvPr/>
          </p:nvSpPr>
          <p:spPr>
            <a:xfrm>
              <a:off x="5316728" y="1760051"/>
              <a:ext cx="2887547" cy="223948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3" name="Google Shape;230;g370fc456c4b_0_4">
              <a:extLst>
                <a:ext uri="{FF2B5EF4-FFF2-40B4-BE49-F238E27FC236}">
                  <a16:creationId xmlns:a16="http://schemas.microsoft.com/office/drawing/2014/main" id="{1A79765E-0A36-868D-1C80-045C0B642C69}"/>
                </a:ext>
              </a:extLst>
            </p:cNvPr>
            <p:cNvCxnSpPr>
              <a:cxnSpLocks/>
              <a:endCxn id="182" idx="3"/>
            </p:cNvCxnSpPr>
            <p:nvPr/>
          </p:nvCxnSpPr>
          <p:spPr>
            <a:xfrm flipH="1">
              <a:off x="8204275" y="2879791"/>
              <a:ext cx="60476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4" name="Rectangle: Rounded Corners 183">
              <a:extLst>
                <a:ext uri="{FF2B5EF4-FFF2-40B4-BE49-F238E27FC236}">
                  <a16:creationId xmlns:a16="http://schemas.microsoft.com/office/drawing/2014/main" id="{4895742A-CB1E-CB10-FA4B-B9FB32F36B32}"/>
                </a:ext>
              </a:extLst>
            </p:cNvPr>
            <p:cNvSpPr/>
            <p:nvPr/>
          </p:nvSpPr>
          <p:spPr>
            <a:xfrm>
              <a:off x="8848468" y="2736055"/>
              <a:ext cx="90718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8921-C32E-4D67-0EA6-851539A9A173}"/>
              </a:ext>
            </a:extLst>
          </p:cNvPr>
          <p:cNvGrpSpPr/>
          <p:nvPr/>
        </p:nvGrpSpPr>
        <p:grpSpPr>
          <a:xfrm>
            <a:off x="7295823" y="5179558"/>
            <a:ext cx="1838433" cy="287472"/>
            <a:chOff x="7205756" y="4262332"/>
            <a:chExt cx="1838433" cy="287472"/>
          </a:xfrm>
        </p:grpSpPr>
        <p:sp>
          <p:nvSpPr>
            <p:cNvPr id="192" name="Google Shape;229;g370fc456c4b_0_4">
              <a:extLst>
                <a:ext uri="{FF2B5EF4-FFF2-40B4-BE49-F238E27FC236}">
                  <a16:creationId xmlns:a16="http://schemas.microsoft.com/office/drawing/2014/main" id="{7148E756-DCB3-0A75-FEFE-ACD9C2C414F7}"/>
                </a:ext>
              </a:extLst>
            </p:cNvPr>
            <p:cNvSpPr/>
            <p:nvPr/>
          </p:nvSpPr>
          <p:spPr>
            <a:xfrm>
              <a:off x="7205756" y="4281753"/>
              <a:ext cx="3591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3" name="Google Shape;230;g370fc456c4b_0_4">
              <a:extLst>
                <a:ext uri="{FF2B5EF4-FFF2-40B4-BE49-F238E27FC236}">
                  <a16:creationId xmlns:a16="http://schemas.microsoft.com/office/drawing/2014/main" id="{1452126B-475C-9837-0FE9-EA5D75C29FA8}"/>
                </a:ext>
              </a:extLst>
            </p:cNvPr>
            <p:cNvCxnSpPr>
              <a:cxnSpLocks/>
              <a:stCxn id="194" idx="1"/>
              <a:endCxn id="192" idx="3"/>
            </p:cNvCxnSpPr>
            <p:nvPr/>
          </p:nvCxnSpPr>
          <p:spPr>
            <a:xfrm flipH="1" flipV="1">
              <a:off x="7564856" y="4400758"/>
              <a:ext cx="543171" cy="53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4" name="Rectangle: Rounded Corners 193">
              <a:extLst>
                <a:ext uri="{FF2B5EF4-FFF2-40B4-BE49-F238E27FC236}">
                  <a16:creationId xmlns:a16="http://schemas.microsoft.com/office/drawing/2014/main" id="{486BD70D-81F7-BEDB-8A68-E174CB604329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F959F751-E9D7-9625-41D9-15BC4F7F8BB3}"/>
              </a:ext>
            </a:extLst>
          </p:cNvPr>
          <p:cNvGrpSpPr/>
          <p:nvPr/>
        </p:nvGrpSpPr>
        <p:grpSpPr>
          <a:xfrm>
            <a:off x="7781992" y="6048493"/>
            <a:ext cx="4263094" cy="287472"/>
            <a:chOff x="7205756" y="4272194"/>
            <a:chExt cx="4263094" cy="287472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98CE3EF7-E638-9D59-2397-CA4C13621A14}"/>
                </a:ext>
              </a:extLst>
            </p:cNvPr>
            <p:cNvSpPr/>
            <p:nvPr/>
          </p:nvSpPr>
          <p:spPr>
            <a:xfrm>
              <a:off x="7205756" y="4281753"/>
              <a:ext cx="17137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D2EC8B66-6F35-D4C5-9EFC-CE162CB42DFF}"/>
                </a:ext>
              </a:extLst>
            </p:cNvPr>
            <p:cNvCxnSpPr>
              <a:cxnSpLocks/>
              <a:endCxn id="199" idx="3"/>
            </p:cNvCxnSpPr>
            <p:nvPr/>
          </p:nvCxnSpPr>
          <p:spPr>
            <a:xfrm flipH="1">
              <a:off x="8919456" y="4400758"/>
              <a:ext cx="101671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FD508E83-6CDC-D882-6158-B95C62DEC9CC}"/>
                </a:ext>
              </a:extLst>
            </p:cNvPr>
            <p:cNvSpPr/>
            <p:nvPr/>
          </p:nvSpPr>
          <p:spPr>
            <a:xfrm>
              <a:off x="9934936" y="4272194"/>
              <a:ext cx="153391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00194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8BDF9-9512-20DA-9692-AC4CF1D556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9AE058-705F-81C2-607A-E74CCAFD4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, LABEL, COMMENT, COLOR RELATIONSHIP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1E4FD3-4AE7-38C5-A4E6-E19A6F54EF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9653" y="1092233"/>
            <a:ext cx="8200523" cy="5503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3567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F3DC3-B574-0634-0367-AC478B9E6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6DC78C-A90A-9A81-671F-DCE36B1A2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923D635C-6174-B10D-AA1D-BB2F775772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2806"/>
            <a:ext cx="12192000" cy="6010419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3EABA543-F72B-A7CE-0CB3-D77FFA34E102}"/>
              </a:ext>
            </a:extLst>
          </p:cNvPr>
          <p:cNvGrpSpPr/>
          <p:nvPr/>
        </p:nvGrpSpPr>
        <p:grpSpPr>
          <a:xfrm>
            <a:off x="215117" y="3026125"/>
            <a:ext cx="6438811" cy="1451897"/>
            <a:chOff x="1799607" y="1520076"/>
            <a:chExt cx="6438811" cy="1451897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35F49AC4-ECB1-1A15-7950-9E8ED2B7912A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95A4010F-EA99-3D54-7778-617EDBE79911}"/>
                </a:ext>
              </a:extLst>
            </p:cNvPr>
            <p:cNvCxnSpPr>
              <a:cxnSpLocks/>
              <a:stCxn id="74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9ECF22BA-7AE4-9B42-0D11-77AAA77929AA}"/>
                </a:ext>
              </a:extLst>
            </p:cNvPr>
            <p:cNvSpPr/>
            <p:nvPr/>
          </p:nvSpPr>
          <p:spPr>
            <a:xfrm>
              <a:off x="1799607" y="1576868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s</a:t>
              </a:r>
              <a:endParaRPr lang="en-US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09A1ADB-2E27-F995-1F63-747742E8CF29}"/>
              </a:ext>
            </a:extLst>
          </p:cNvPr>
          <p:cNvGrpSpPr/>
          <p:nvPr/>
        </p:nvGrpSpPr>
        <p:grpSpPr>
          <a:xfrm>
            <a:off x="215117" y="3855842"/>
            <a:ext cx="4855763" cy="1151537"/>
            <a:chOff x="120555" y="1615002"/>
            <a:chExt cx="4855763" cy="1151537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24467C66-0F91-3C9B-C0D7-2C5F031C04FC}"/>
                </a:ext>
              </a:extLst>
            </p:cNvPr>
            <p:cNvSpPr/>
            <p:nvPr/>
          </p:nvSpPr>
          <p:spPr>
            <a:xfrm>
              <a:off x="3565236" y="1615002"/>
              <a:ext cx="1411082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E8427A65-37DD-2428-D9DF-71746313F10F}"/>
                </a:ext>
              </a:extLst>
            </p:cNvPr>
            <p:cNvCxnSpPr>
              <a:cxnSpLocks/>
            </p:cNvCxnSpPr>
            <p:nvPr/>
          </p:nvCxnSpPr>
          <p:spPr>
            <a:xfrm>
              <a:off x="1461057" y="1758739"/>
              <a:ext cx="210417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C225DD47-9A0C-59E4-0007-64B52942ED5E}"/>
                </a:ext>
              </a:extLst>
            </p:cNvPr>
            <p:cNvSpPr/>
            <p:nvPr/>
          </p:nvSpPr>
          <p:spPr>
            <a:xfrm>
              <a:off x="120555" y="1615003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Item</a:t>
              </a:r>
              <a:endParaRPr lang="en-US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229D9B2-1990-9488-52A8-4E63CA0A038C}"/>
              </a:ext>
            </a:extLst>
          </p:cNvPr>
          <p:cNvGrpSpPr/>
          <p:nvPr/>
        </p:nvGrpSpPr>
        <p:grpSpPr>
          <a:xfrm>
            <a:off x="215116" y="4145706"/>
            <a:ext cx="3360687" cy="669136"/>
            <a:chOff x="1543288" y="1615003"/>
            <a:chExt cx="3360687" cy="669136"/>
          </a:xfrm>
        </p:grpSpPr>
        <p:sp>
          <p:nvSpPr>
            <p:cNvPr id="80" name="Google Shape;229;g370fc456c4b_0_4">
              <a:extLst>
                <a:ext uri="{FF2B5EF4-FFF2-40B4-BE49-F238E27FC236}">
                  <a16:creationId xmlns:a16="http://schemas.microsoft.com/office/drawing/2014/main" id="{615F4AA7-3A28-718A-10C5-FD4D7BB3A20B}"/>
                </a:ext>
              </a:extLst>
            </p:cNvPr>
            <p:cNvSpPr/>
            <p:nvPr/>
          </p:nvSpPr>
          <p:spPr>
            <a:xfrm>
              <a:off x="3565236" y="1615003"/>
              <a:ext cx="1338739" cy="23740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1" name="Google Shape;230;g370fc456c4b_0_4">
              <a:extLst>
                <a:ext uri="{FF2B5EF4-FFF2-40B4-BE49-F238E27FC236}">
                  <a16:creationId xmlns:a16="http://schemas.microsoft.com/office/drawing/2014/main" id="{AC2A186C-8FB3-31FA-40DE-5832270581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A26EE254-C1EC-7600-E87D-E8AC0EEDB924}"/>
                </a:ext>
              </a:extLst>
            </p:cNvPr>
            <p:cNvSpPr/>
            <p:nvPr/>
          </p:nvSpPr>
          <p:spPr>
            <a:xfrm>
              <a:off x="1543288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7380682-B685-0F84-9AED-0689DC1E67D3}"/>
              </a:ext>
            </a:extLst>
          </p:cNvPr>
          <p:cNvGrpSpPr/>
          <p:nvPr/>
        </p:nvGrpSpPr>
        <p:grpSpPr>
          <a:xfrm>
            <a:off x="6965900" y="3328035"/>
            <a:ext cx="4972481" cy="1922813"/>
            <a:chOff x="3565236" y="843726"/>
            <a:chExt cx="4972481" cy="1922813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922EC4C5-A082-BF3A-A05F-54DB7499DAA0}"/>
                </a:ext>
              </a:extLst>
            </p:cNvPr>
            <p:cNvSpPr/>
            <p:nvPr/>
          </p:nvSpPr>
          <p:spPr>
            <a:xfrm>
              <a:off x="3565236" y="1615002"/>
              <a:ext cx="3224050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136ABA7D-FC61-721A-9588-0065EA01146A}"/>
                </a:ext>
              </a:extLst>
            </p:cNvPr>
            <p:cNvCxnSpPr>
              <a:cxnSpLocks/>
              <a:stCxn id="86" idx="2"/>
              <a:endCxn id="84" idx="3"/>
            </p:cNvCxnSpPr>
            <p:nvPr/>
          </p:nvCxnSpPr>
          <p:spPr>
            <a:xfrm flipH="1">
              <a:off x="6789286" y="1131198"/>
              <a:ext cx="1078181" cy="10595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1F5ECCE4-3DD7-9E0C-AA8B-CF8B8C99410B}"/>
                </a:ext>
              </a:extLst>
            </p:cNvPr>
            <p:cNvSpPr/>
            <p:nvPr/>
          </p:nvSpPr>
          <p:spPr>
            <a:xfrm>
              <a:off x="7197216" y="843726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BA9FFC4-3716-6D90-6057-C7B645F2D0FE}"/>
              </a:ext>
            </a:extLst>
          </p:cNvPr>
          <p:cNvGrpSpPr/>
          <p:nvPr/>
        </p:nvGrpSpPr>
        <p:grpSpPr>
          <a:xfrm>
            <a:off x="215116" y="5027008"/>
            <a:ext cx="6438811" cy="1151537"/>
            <a:chOff x="1765149" y="1615002"/>
            <a:chExt cx="6438811" cy="115153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DE79D67D-1E5E-D21B-B246-67D97168ED0D}"/>
                </a:ext>
              </a:extLst>
            </p:cNvPr>
            <p:cNvSpPr/>
            <p:nvPr/>
          </p:nvSpPr>
          <p:spPr>
            <a:xfrm>
              <a:off x="3565235" y="1615002"/>
              <a:ext cx="4638725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CF3C72D3-514B-B0EB-A0F1-7FA3680E15CF}"/>
                </a:ext>
              </a:extLst>
            </p:cNvPr>
            <p:cNvCxnSpPr>
              <a:cxnSpLocks/>
            </p:cNvCxnSpPr>
            <p:nvPr/>
          </p:nvCxnSpPr>
          <p:spPr>
            <a:xfrm>
              <a:off x="3105650" y="2128635"/>
              <a:ext cx="45958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88CEFBD-DC2D-C717-F691-C5BEB9A400D0}"/>
                </a:ext>
              </a:extLst>
            </p:cNvPr>
            <p:cNvSpPr/>
            <p:nvPr/>
          </p:nvSpPr>
          <p:spPr>
            <a:xfrm>
              <a:off x="1765149" y="1994370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4613D08F-37C4-8FA3-AFFC-EEF1D44A00D7}"/>
              </a:ext>
            </a:extLst>
          </p:cNvPr>
          <p:cNvSpPr/>
          <p:nvPr/>
        </p:nvSpPr>
        <p:spPr>
          <a:xfrm>
            <a:off x="264974" y="12393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E429A694-CBE6-2412-0709-05E117533AFD}"/>
              </a:ext>
            </a:extLst>
          </p:cNvPr>
          <p:cNvSpPr/>
          <p:nvPr/>
        </p:nvSpPr>
        <p:spPr>
          <a:xfrm>
            <a:off x="10612950" y="15880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E302C48-7776-2B3E-0AEF-E450FDCE10E6}"/>
              </a:ext>
            </a:extLst>
          </p:cNvPr>
          <p:cNvGrpSpPr/>
          <p:nvPr/>
        </p:nvGrpSpPr>
        <p:grpSpPr>
          <a:xfrm>
            <a:off x="2842021" y="5075809"/>
            <a:ext cx="2499203" cy="348100"/>
            <a:chOff x="6527964" y="4230041"/>
            <a:chExt cx="2499203" cy="348100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7C9F08D7-B703-D485-51D6-51A25BB34E5C}"/>
                </a:ext>
              </a:extLst>
            </p:cNvPr>
            <p:cNvSpPr/>
            <p:nvPr/>
          </p:nvSpPr>
          <p:spPr>
            <a:xfrm>
              <a:off x="6527964" y="4405179"/>
              <a:ext cx="730851" cy="17296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6E9F7AF-AF4D-FF3D-FC74-633951E9344F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>
              <a:off x="7258815" y="4373777"/>
              <a:ext cx="323694" cy="1178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3D2F6000-9DF3-2506-1DA6-F8F31E300504}"/>
                </a:ext>
              </a:extLst>
            </p:cNvPr>
            <p:cNvSpPr/>
            <p:nvPr/>
          </p:nvSpPr>
          <p:spPr>
            <a:xfrm>
              <a:off x="7582509" y="4230041"/>
              <a:ext cx="144465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E354551-D7E0-6A05-D7EA-11D61EDD7B19}"/>
              </a:ext>
            </a:extLst>
          </p:cNvPr>
          <p:cNvGrpSpPr/>
          <p:nvPr/>
        </p:nvGrpSpPr>
        <p:grpSpPr>
          <a:xfrm>
            <a:off x="2842021" y="5423909"/>
            <a:ext cx="1969116" cy="287472"/>
            <a:chOff x="6527964" y="4392261"/>
            <a:chExt cx="1969116" cy="287472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BC4ABAD-7864-B50E-34AA-B99320D23752}"/>
                </a:ext>
              </a:extLst>
            </p:cNvPr>
            <p:cNvSpPr/>
            <p:nvPr/>
          </p:nvSpPr>
          <p:spPr>
            <a:xfrm>
              <a:off x="6527964" y="4405179"/>
              <a:ext cx="730851" cy="12453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F64DC640-0A7B-EE2B-4C8D-6D14FA6F47F6}"/>
                </a:ext>
              </a:extLst>
            </p:cNvPr>
            <p:cNvCxnSpPr>
              <a:cxnSpLocks/>
              <a:stCxn id="100" idx="1"/>
              <a:endCxn id="98" idx="3"/>
            </p:cNvCxnSpPr>
            <p:nvPr/>
          </p:nvCxnSpPr>
          <p:spPr>
            <a:xfrm flipH="1" flipV="1">
              <a:off x="7258815" y="4467449"/>
              <a:ext cx="323694" cy="6854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B9D9A3DC-B1AF-E503-08BB-28F13FD41740}"/>
                </a:ext>
              </a:extLst>
            </p:cNvPr>
            <p:cNvSpPr/>
            <p:nvPr/>
          </p:nvSpPr>
          <p:spPr>
            <a:xfrm>
              <a:off x="7582509" y="4392261"/>
              <a:ext cx="91457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DA2D001-3FD5-992A-1C09-B7659B2CC1C0}"/>
              </a:ext>
            </a:extLst>
          </p:cNvPr>
          <p:cNvGrpSpPr/>
          <p:nvPr/>
        </p:nvGrpSpPr>
        <p:grpSpPr>
          <a:xfrm>
            <a:off x="1980746" y="2375754"/>
            <a:ext cx="2228859" cy="287472"/>
            <a:chOff x="6527964" y="4318236"/>
            <a:chExt cx="2228859" cy="287472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C250F700-84B1-BC24-4638-95C718D3849F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BACF91E3-0341-49C7-9E5A-BB8AA017250A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BEC5A979-500C-1B6E-08B7-24B6617FE4DF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3C5A6B-EA81-629E-4321-5FB47F1C2E4C}"/>
              </a:ext>
            </a:extLst>
          </p:cNvPr>
          <p:cNvGrpSpPr/>
          <p:nvPr/>
        </p:nvGrpSpPr>
        <p:grpSpPr>
          <a:xfrm>
            <a:off x="2515374" y="1848278"/>
            <a:ext cx="2762383" cy="287472"/>
            <a:chOff x="6527964" y="4323685"/>
            <a:chExt cx="2762383" cy="287472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FFCB47A0-3D80-6395-903B-B651B217F0A2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7A65E716-C27B-0AAB-26F0-68B1A06815F4}"/>
                </a:ext>
              </a:extLst>
            </p:cNvPr>
            <p:cNvCxnSpPr>
              <a:cxnSpLocks/>
              <a:endCxn id="110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55DE2F1E-AE86-9DA0-509B-7FC45F74EC7B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F891707-8CB1-41A2-6893-1217E47D96F7}"/>
              </a:ext>
            </a:extLst>
          </p:cNvPr>
          <p:cNvGrpSpPr/>
          <p:nvPr/>
        </p:nvGrpSpPr>
        <p:grpSpPr>
          <a:xfrm>
            <a:off x="1986159" y="1383083"/>
            <a:ext cx="1653363" cy="287472"/>
            <a:chOff x="6580814" y="4323685"/>
            <a:chExt cx="1653363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192B72FA-DC4A-B532-F49A-4A8E6E1240F7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C8E4D8BE-66A3-F1EA-6678-CB2CFC698054}"/>
                </a:ext>
              </a:extLst>
            </p:cNvPr>
            <p:cNvCxnSpPr>
              <a:cxnSpLocks/>
              <a:endCxn id="114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18151A86-EEF7-B31C-CD42-C4A4907F1E5C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259744CE-EA06-3D29-C061-6201FE607C24}"/>
              </a:ext>
            </a:extLst>
          </p:cNvPr>
          <p:cNvGrpSpPr/>
          <p:nvPr/>
        </p:nvGrpSpPr>
        <p:grpSpPr>
          <a:xfrm>
            <a:off x="733650" y="1383083"/>
            <a:ext cx="9660265" cy="5098846"/>
            <a:chOff x="2915045" y="2003250"/>
            <a:chExt cx="9660265" cy="5098846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A98A2063-7422-F35E-8D87-404125F21A75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4D1E5093-CCB8-2984-E764-C0AE733F4CE9}"/>
                </a:ext>
              </a:extLst>
            </p:cNvPr>
            <p:cNvCxnSpPr>
              <a:cxnSpLocks/>
              <a:stCxn id="120" idx="3"/>
            </p:cNvCxnSpPr>
            <p:nvPr/>
          </p:nvCxnSpPr>
          <p:spPr>
            <a:xfrm>
              <a:off x="3587423" y="2499202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FA4EA0EC-FBBD-A1A6-3BF1-0F9A77FBCFD6}"/>
                </a:ext>
              </a:extLst>
            </p:cNvPr>
            <p:cNvSpPr/>
            <p:nvPr/>
          </p:nvSpPr>
          <p:spPr>
            <a:xfrm>
              <a:off x="2915045" y="2355466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403CA6F-82C9-46BC-EB2C-696794D627B0}"/>
              </a:ext>
            </a:extLst>
          </p:cNvPr>
          <p:cNvSpPr/>
          <p:nvPr/>
        </p:nvSpPr>
        <p:spPr>
          <a:xfrm>
            <a:off x="215115" y="5920008"/>
            <a:ext cx="1582970" cy="365369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ttachmentType</a:t>
            </a:r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7AFD2C5-FFA9-1DEC-628E-EFE5E64F946F}"/>
              </a:ext>
            </a:extLst>
          </p:cNvPr>
          <p:cNvSpPr/>
          <p:nvPr/>
        </p:nvSpPr>
        <p:spPr>
          <a:xfrm>
            <a:off x="238486" y="2622970"/>
            <a:ext cx="990328" cy="30480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Type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675959A-9D71-8378-A4AB-631ABE5595E8}"/>
              </a:ext>
            </a:extLst>
          </p:cNvPr>
          <p:cNvGrpSpPr/>
          <p:nvPr/>
        </p:nvGrpSpPr>
        <p:grpSpPr>
          <a:xfrm>
            <a:off x="2237064" y="3275739"/>
            <a:ext cx="1304883" cy="287472"/>
            <a:chOff x="7451940" y="4318236"/>
            <a:chExt cx="1304883" cy="28747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13E83F66-93EA-171E-D719-D42DE7E79EA6}"/>
                </a:ext>
              </a:extLst>
            </p:cNvPr>
            <p:cNvSpPr/>
            <p:nvPr/>
          </p:nvSpPr>
          <p:spPr>
            <a:xfrm>
              <a:off x="7451940" y="4355581"/>
              <a:ext cx="217028" cy="19520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21713885-5A78-F8B3-6BBA-1266742BE69D}"/>
                </a:ext>
              </a:extLst>
            </p:cNvPr>
            <p:cNvCxnSpPr>
              <a:cxnSpLocks/>
              <a:stCxn id="16" idx="1"/>
              <a:endCxn id="14" idx="3"/>
            </p:cNvCxnSpPr>
            <p:nvPr/>
          </p:nvCxnSpPr>
          <p:spPr>
            <a:xfrm flipH="1" flipV="1">
              <a:off x="7668968" y="4453181"/>
              <a:ext cx="246314" cy="87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B84F7FE-99DC-B10D-63F8-C1E4DE6D3427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ataIc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5997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CH" dirty="0">
                <a:solidFill>
                  <a:srgbClr val="C00000"/>
                </a:solidFill>
              </a:rPr>
              <a:t>Date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215CB0-BC9D-1A7B-E61E-A3BDFCAE6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AB7E3D7-9A5F-8E88-51D7-331F05354890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C4ABF6-B9F9-5423-31A4-D192AC185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63776F-8312-06B5-4B5E-7A0A76D26F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4001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252399B-C6F1-A555-EF95-AB527A2EADD7}"/>
              </a:ext>
            </a:extLst>
          </p:cNvPr>
          <p:cNvGrpSpPr/>
          <p:nvPr/>
        </p:nvGrpSpPr>
        <p:grpSpPr>
          <a:xfrm>
            <a:off x="1995628" y="1496960"/>
            <a:ext cx="1653363" cy="287472"/>
            <a:chOff x="6580814" y="4323685"/>
            <a:chExt cx="1653363" cy="287472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00890A0-77BE-4CCB-C306-D4A7E0EA3610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D8F0FB28-3EB8-F113-783A-AF0BF80D0DFA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CDF0FA1-2FEA-AAC0-C0C6-766CB20E96FB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E9903F-FB8E-C317-F208-511D11CB04B6}"/>
              </a:ext>
            </a:extLst>
          </p:cNvPr>
          <p:cNvGrpSpPr/>
          <p:nvPr/>
        </p:nvGrpSpPr>
        <p:grpSpPr>
          <a:xfrm>
            <a:off x="2500584" y="1973261"/>
            <a:ext cx="2762383" cy="287472"/>
            <a:chOff x="6527964" y="4323685"/>
            <a:chExt cx="2762383" cy="287472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F0B061CE-E3F2-877F-4BF9-887DBB807BEC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1124BC5-2691-B805-147C-7C65BF68E7CE}"/>
                </a:ext>
              </a:extLst>
            </p:cNvPr>
            <p:cNvCxnSpPr>
              <a:cxnSpLocks/>
              <a:endCxn id="11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0E1CA35-BA5B-F9E1-3739-BD62A298BB03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F7A590-1E51-E953-E732-C3C96A4C410C}"/>
              </a:ext>
            </a:extLst>
          </p:cNvPr>
          <p:cNvGrpSpPr/>
          <p:nvPr/>
        </p:nvGrpSpPr>
        <p:grpSpPr>
          <a:xfrm>
            <a:off x="535511" y="2865202"/>
            <a:ext cx="6041678" cy="3376109"/>
            <a:chOff x="2196740" y="1520076"/>
            <a:chExt cx="6041678" cy="337610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E3E268B3-63C2-ED97-5508-1D05A11EC493}"/>
                </a:ext>
              </a:extLst>
            </p:cNvPr>
            <p:cNvSpPr/>
            <p:nvPr/>
          </p:nvSpPr>
          <p:spPr>
            <a:xfrm>
              <a:off x="3565236" y="1520076"/>
              <a:ext cx="4673182" cy="33761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B8865F72-D0DF-F9E3-4F99-5A5EE4468649}"/>
                </a:ext>
              </a:extLst>
            </p:cNvPr>
            <p:cNvCxnSpPr>
              <a:cxnSpLocks/>
              <a:stCxn id="17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3CD48EC-25FC-7152-D02A-7E7F26BC2F46}"/>
                </a:ext>
              </a:extLst>
            </p:cNvPr>
            <p:cNvSpPr/>
            <p:nvPr/>
          </p:nvSpPr>
          <p:spPr>
            <a:xfrm>
              <a:off x="2196740" y="1576868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C08205-37D2-8EA2-AED8-B8D8BBF0ED86}"/>
              </a:ext>
            </a:extLst>
          </p:cNvPr>
          <p:cNvGrpSpPr/>
          <p:nvPr/>
        </p:nvGrpSpPr>
        <p:grpSpPr>
          <a:xfrm>
            <a:off x="138378" y="3123153"/>
            <a:ext cx="6273147" cy="669136"/>
            <a:chOff x="1670567" y="1615003"/>
            <a:chExt cx="6273147" cy="669136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0C70436A-98AE-8596-13E0-27501C1B2B29}"/>
                </a:ext>
              </a:extLst>
            </p:cNvPr>
            <p:cNvSpPr/>
            <p:nvPr/>
          </p:nvSpPr>
          <p:spPr>
            <a:xfrm>
              <a:off x="3565236" y="1615003"/>
              <a:ext cx="4378478" cy="218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A26FEACA-42BB-2598-AB7E-44072F2788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06A07B1-72E2-B91E-B81C-161A528F0D20}"/>
                </a:ext>
              </a:extLst>
            </p:cNvPr>
            <p:cNvSpPr/>
            <p:nvPr/>
          </p:nvSpPr>
          <p:spPr>
            <a:xfrm>
              <a:off x="1670567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</a:t>
              </a:r>
              <a:endParaRPr lang="en-US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637B7AB-DCC4-C3D6-A94D-126C6E6CB899}"/>
              </a:ext>
            </a:extLst>
          </p:cNvPr>
          <p:cNvGrpSpPr/>
          <p:nvPr/>
        </p:nvGrpSpPr>
        <p:grpSpPr>
          <a:xfrm>
            <a:off x="4467222" y="3441996"/>
            <a:ext cx="1699091" cy="1445541"/>
            <a:chOff x="2089106" y="1615003"/>
            <a:chExt cx="1699091" cy="1445541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1F8B51CD-B774-3E94-860F-6D827A597D42}"/>
                </a:ext>
              </a:extLst>
            </p:cNvPr>
            <p:cNvSpPr/>
            <p:nvPr/>
          </p:nvSpPr>
          <p:spPr>
            <a:xfrm>
              <a:off x="3583818" y="1615003"/>
              <a:ext cx="204379" cy="17888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55EC0176-D519-A5DB-13CB-061A9FE38B6A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3003506" y="1793886"/>
              <a:ext cx="682502" cy="97559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AB946DD-9104-3889-B374-FE417E930196}"/>
                </a:ext>
              </a:extLst>
            </p:cNvPr>
            <p:cNvSpPr/>
            <p:nvPr/>
          </p:nvSpPr>
          <p:spPr>
            <a:xfrm>
              <a:off x="2089106" y="2773072"/>
              <a:ext cx="94230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4B5978-E034-2608-5F48-EE906AA1B967}"/>
              </a:ext>
            </a:extLst>
          </p:cNvPr>
          <p:cNvGrpSpPr/>
          <p:nvPr/>
        </p:nvGrpSpPr>
        <p:grpSpPr>
          <a:xfrm>
            <a:off x="2031286" y="3728152"/>
            <a:ext cx="1883529" cy="588947"/>
            <a:chOff x="6562598" y="4358984"/>
            <a:chExt cx="1883529" cy="588947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B35042D9-5F93-1BEE-A780-9D1D146CA342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FAF9211-114C-ABAF-81A4-87C63A5CCBB0}"/>
                </a:ext>
              </a:extLst>
            </p:cNvPr>
            <p:cNvCxnSpPr>
              <a:cxnSpLocks/>
              <a:stCxn id="30" idx="1"/>
              <a:endCxn id="28" idx="2"/>
            </p:cNvCxnSpPr>
            <p:nvPr/>
          </p:nvCxnSpPr>
          <p:spPr>
            <a:xfrm flipH="1" flipV="1">
              <a:off x="6650923" y="4577334"/>
              <a:ext cx="182678" cy="22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E781B03-24F0-85FD-D9E9-79B637DF4DD5}"/>
                </a:ext>
              </a:extLst>
            </p:cNvPr>
            <p:cNvSpPr/>
            <p:nvPr/>
          </p:nvSpPr>
          <p:spPr>
            <a:xfrm>
              <a:off x="6833601" y="4660459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F40E162-76CF-0444-F949-66453BD06CE7}"/>
              </a:ext>
            </a:extLst>
          </p:cNvPr>
          <p:cNvGrpSpPr/>
          <p:nvPr/>
        </p:nvGrpSpPr>
        <p:grpSpPr>
          <a:xfrm>
            <a:off x="2249415" y="3672940"/>
            <a:ext cx="2003297" cy="287472"/>
            <a:chOff x="6562598" y="4296771"/>
            <a:chExt cx="2003297" cy="287472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56433FF4-DD52-34BA-8CC0-7D7DC7114CF1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691A5C9E-E5A4-0F47-E995-7E55DCD685AE}"/>
                </a:ext>
              </a:extLst>
            </p:cNvPr>
            <p:cNvCxnSpPr>
              <a:cxnSpLocks/>
              <a:stCxn id="55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B8F4E727-5EE0-9F51-D8CC-D4FB5D8AA22B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2EAF215-48BA-16F3-CB72-520127591001}"/>
              </a:ext>
            </a:extLst>
          </p:cNvPr>
          <p:cNvGrpSpPr/>
          <p:nvPr/>
        </p:nvGrpSpPr>
        <p:grpSpPr>
          <a:xfrm>
            <a:off x="4373748" y="3385468"/>
            <a:ext cx="1545998" cy="287472"/>
            <a:chOff x="5474738" y="4310774"/>
            <a:chExt cx="1545998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F6EAC7EF-6C0A-9D05-BC61-65795BDA7A32}"/>
                </a:ext>
              </a:extLst>
            </p:cNvPr>
            <p:cNvSpPr/>
            <p:nvPr/>
          </p:nvSpPr>
          <p:spPr>
            <a:xfrm>
              <a:off x="6510518" y="4367302"/>
              <a:ext cx="510218" cy="17888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F9908AE6-AE9F-63FD-03C6-A66D121B7188}"/>
                </a:ext>
              </a:extLst>
            </p:cNvPr>
            <p:cNvCxnSpPr>
              <a:cxnSpLocks/>
              <a:endCxn id="60" idx="1"/>
            </p:cNvCxnSpPr>
            <p:nvPr/>
          </p:nvCxnSpPr>
          <p:spPr>
            <a:xfrm flipV="1">
              <a:off x="6287556" y="4456744"/>
              <a:ext cx="222962" cy="114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4923B177-45B7-624F-32FD-66813EB92524}"/>
                </a:ext>
              </a:extLst>
            </p:cNvPr>
            <p:cNvSpPr/>
            <p:nvPr/>
          </p:nvSpPr>
          <p:spPr>
            <a:xfrm>
              <a:off x="5474738" y="4310774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eD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BFF99AC-8973-F015-FEB8-D6BC801E2E1E}"/>
              </a:ext>
            </a:extLst>
          </p:cNvPr>
          <p:cNvSpPr/>
          <p:nvPr/>
        </p:nvSpPr>
        <p:spPr>
          <a:xfrm>
            <a:off x="3772076" y="4600065"/>
            <a:ext cx="57748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47B41DFC-54A5-F5C6-AC21-3B7F3600BA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1246" y="1752537"/>
            <a:ext cx="2143909" cy="2697953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569D46F0-F01A-FE61-2C65-167B0763DBA6}"/>
              </a:ext>
            </a:extLst>
          </p:cNvPr>
          <p:cNvGrpSpPr/>
          <p:nvPr/>
        </p:nvGrpSpPr>
        <p:grpSpPr>
          <a:xfrm>
            <a:off x="10659993" y="3602531"/>
            <a:ext cx="806370" cy="1091373"/>
            <a:chOff x="6489606" y="4355580"/>
            <a:chExt cx="806370" cy="1091373"/>
          </a:xfrm>
        </p:grpSpPr>
        <p:sp>
          <p:nvSpPr>
            <p:cNvPr id="85" name="Google Shape;229;g370fc456c4b_0_4">
              <a:extLst>
                <a:ext uri="{FF2B5EF4-FFF2-40B4-BE49-F238E27FC236}">
                  <a16:creationId xmlns:a16="http://schemas.microsoft.com/office/drawing/2014/main" id="{F65907B7-9B80-A0A5-0147-5C5E0000F11F}"/>
                </a:ext>
              </a:extLst>
            </p:cNvPr>
            <p:cNvSpPr/>
            <p:nvPr/>
          </p:nvSpPr>
          <p:spPr>
            <a:xfrm>
              <a:off x="6580814" y="4355580"/>
              <a:ext cx="623954" cy="4725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6" name="Google Shape;230;g370fc456c4b_0_4">
              <a:extLst>
                <a:ext uri="{FF2B5EF4-FFF2-40B4-BE49-F238E27FC236}">
                  <a16:creationId xmlns:a16="http://schemas.microsoft.com/office/drawing/2014/main" id="{E5E16959-8A9E-83F8-FB82-28F2E9ECD82B}"/>
                </a:ext>
              </a:extLst>
            </p:cNvPr>
            <p:cNvCxnSpPr>
              <a:cxnSpLocks/>
              <a:endCxn id="85" idx="2"/>
            </p:cNvCxnSpPr>
            <p:nvPr/>
          </p:nvCxnSpPr>
          <p:spPr>
            <a:xfrm flipV="1">
              <a:off x="6892791" y="4828092"/>
              <a:ext cx="0" cy="3351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8AD29B84-2902-914E-4A45-6F6A455D7877}"/>
                </a:ext>
              </a:extLst>
            </p:cNvPr>
            <p:cNvSpPr/>
            <p:nvPr/>
          </p:nvSpPr>
          <p:spPr>
            <a:xfrm>
              <a:off x="6489606" y="5159481"/>
              <a:ext cx="80637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F24604F-B0AC-E8D3-ACCE-61BCB3C4E485}"/>
              </a:ext>
            </a:extLst>
          </p:cNvPr>
          <p:cNvGrpSpPr/>
          <p:nvPr/>
        </p:nvGrpSpPr>
        <p:grpSpPr>
          <a:xfrm>
            <a:off x="2284348" y="4484401"/>
            <a:ext cx="2003297" cy="287472"/>
            <a:chOff x="6562598" y="4296771"/>
            <a:chExt cx="2003297" cy="287472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E91CB9EA-401A-27FB-8547-EE656911CAB5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1D4B9A20-B129-0828-3AFC-E80172558B26}"/>
                </a:ext>
              </a:extLst>
            </p:cNvPr>
            <p:cNvCxnSpPr>
              <a:cxnSpLocks/>
              <a:stCxn id="32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5071AA19-D1F8-267D-D0EB-5800481033A6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8129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725F2-A6D7-4B06-5544-527BA5701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8EB8FC-FA72-562E-DC85-197F5F828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, CUSTOMFIELD, CHECKLIST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F07317-F6CD-1266-5D3A-658BD6301F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961771"/>
            <a:ext cx="10999244" cy="5896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134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C00306-5D7E-DA9A-3859-3CD0BE5E8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0AAA731-C2EB-4619-3960-873FF49C2C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7949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7634134-7ACB-2F9D-8C00-DA89028F9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467756-940D-407D-52B5-0AEFB03BF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9705" y="1523734"/>
            <a:ext cx="2695690" cy="128980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0C5311E8-1DF6-1544-D7B7-01CB49B2EC23}"/>
              </a:ext>
            </a:extLst>
          </p:cNvPr>
          <p:cNvGrpSpPr/>
          <p:nvPr/>
        </p:nvGrpSpPr>
        <p:grpSpPr>
          <a:xfrm>
            <a:off x="5034171" y="2306182"/>
            <a:ext cx="2187042" cy="287472"/>
            <a:chOff x="8006699" y="4343604"/>
            <a:chExt cx="2187042" cy="287472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B63D5648-F965-C5E5-50BF-B7CB7B7473E7}"/>
                </a:ext>
              </a:extLst>
            </p:cNvPr>
            <p:cNvSpPr/>
            <p:nvPr/>
          </p:nvSpPr>
          <p:spPr>
            <a:xfrm>
              <a:off x="9739088" y="4355579"/>
              <a:ext cx="454653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24371AD9-201A-5EB2-2633-131E4ADFC843}"/>
                </a:ext>
              </a:extLst>
            </p:cNvPr>
            <p:cNvCxnSpPr>
              <a:cxnSpLocks/>
              <a:endCxn id="9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5B195318-F846-ED01-AAAB-1D60236CA609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865903C-9176-2985-8E95-1EAEC04A2B39}"/>
              </a:ext>
            </a:extLst>
          </p:cNvPr>
          <p:cNvGrpSpPr/>
          <p:nvPr/>
        </p:nvGrpSpPr>
        <p:grpSpPr>
          <a:xfrm>
            <a:off x="5152632" y="1798432"/>
            <a:ext cx="2281838" cy="920915"/>
            <a:chOff x="2057373" y="1012326"/>
            <a:chExt cx="2281838" cy="920915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0EF7DBDB-D29F-394E-8D0E-C37D14BC0883}"/>
                </a:ext>
              </a:extLst>
            </p:cNvPr>
            <p:cNvSpPr/>
            <p:nvPr/>
          </p:nvSpPr>
          <p:spPr>
            <a:xfrm>
              <a:off x="3565236" y="1520077"/>
              <a:ext cx="773975" cy="4131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C6062639-A10D-7421-FE0B-5CA5296618E4}"/>
                </a:ext>
              </a:extLst>
            </p:cNvPr>
            <p:cNvCxnSpPr>
              <a:cxnSpLocks/>
              <a:stCxn id="18" idx="3"/>
            </p:cNvCxnSpPr>
            <p:nvPr/>
          </p:nvCxnSpPr>
          <p:spPr>
            <a:xfrm>
              <a:off x="3000741" y="1156062"/>
              <a:ext cx="593705" cy="36401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756C8DD-6849-6775-1638-1CC322D4CE69}"/>
                </a:ext>
              </a:extLst>
            </p:cNvPr>
            <p:cNvSpPr/>
            <p:nvPr/>
          </p:nvSpPr>
          <p:spPr>
            <a:xfrm>
              <a:off x="2057373" y="1012326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F29DF36-DC88-A25F-D244-C8F8E89DA8B6}"/>
              </a:ext>
            </a:extLst>
          </p:cNvPr>
          <p:cNvGrpSpPr/>
          <p:nvPr/>
        </p:nvGrpSpPr>
        <p:grpSpPr>
          <a:xfrm>
            <a:off x="7870161" y="1845724"/>
            <a:ext cx="2641463" cy="3115889"/>
            <a:chOff x="2057373" y="1012326"/>
            <a:chExt cx="2641463" cy="311588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CD0CA6FC-207F-B246-4CA7-5993495614BB}"/>
                </a:ext>
              </a:extLst>
            </p:cNvPr>
            <p:cNvSpPr/>
            <p:nvPr/>
          </p:nvSpPr>
          <p:spPr>
            <a:xfrm>
              <a:off x="3565236" y="1520076"/>
              <a:ext cx="1133600" cy="26081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C4E436-53A1-A939-B3A2-A42D8341C2BC}"/>
                </a:ext>
              </a:extLst>
            </p:cNvPr>
            <p:cNvCxnSpPr>
              <a:cxnSpLocks/>
            </p:cNvCxnSpPr>
            <p:nvPr/>
          </p:nvCxnSpPr>
          <p:spPr>
            <a:xfrm>
              <a:off x="3000741" y="1252506"/>
              <a:ext cx="593705" cy="2675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BE57E9E5-C6DC-3D3D-1E29-848E02CC52BC}"/>
                </a:ext>
              </a:extLst>
            </p:cNvPr>
            <p:cNvSpPr/>
            <p:nvPr/>
          </p:nvSpPr>
          <p:spPr>
            <a:xfrm>
              <a:off x="2057373" y="1012326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D80A40E-F3EC-58CC-BF58-C0562E14C0B1}"/>
              </a:ext>
            </a:extLst>
          </p:cNvPr>
          <p:cNvGrpSpPr/>
          <p:nvPr/>
        </p:nvGrpSpPr>
        <p:grpSpPr>
          <a:xfrm>
            <a:off x="7792058" y="2581680"/>
            <a:ext cx="2695690" cy="287472"/>
            <a:chOff x="8006699" y="4343604"/>
            <a:chExt cx="2695690" cy="287472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3D3D4BB1-2E1A-B6BA-82ED-386B85110656}"/>
                </a:ext>
              </a:extLst>
            </p:cNvPr>
            <p:cNvSpPr/>
            <p:nvPr/>
          </p:nvSpPr>
          <p:spPr>
            <a:xfrm>
              <a:off x="9739088" y="4355579"/>
              <a:ext cx="963301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6B76DDB4-4F85-27B2-1FEE-9438A69CD257}"/>
                </a:ext>
              </a:extLst>
            </p:cNvPr>
            <p:cNvCxnSpPr>
              <a:cxnSpLocks/>
              <a:endCxn id="26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516A8DF-2902-13F3-FD13-CBAE80004A80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383C9AF-DE1F-2134-6FED-3BA1F9934859}"/>
              </a:ext>
            </a:extLst>
          </p:cNvPr>
          <p:cNvGrpSpPr/>
          <p:nvPr/>
        </p:nvGrpSpPr>
        <p:grpSpPr>
          <a:xfrm>
            <a:off x="7829403" y="3621923"/>
            <a:ext cx="2403926" cy="287472"/>
            <a:chOff x="8006699" y="4343604"/>
            <a:chExt cx="2403926" cy="28747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7974CE45-D8D2-40F0-1538-9C549DC6A555}"/>
                </a:ext>
              </a:extLst>
            </p:cNvPr>
            <p:cNvSpPr/>
            <p:nvPr/>
          </p:nvSpPr>
          <p:spPr>
            <a:xfrm>
              <a:off x="9739088" y="4355579"/>
              <a:ext cx="67153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F2BCB8F2-D848-B66C-9976-352C4369EC16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8B0707DF-001C-255A-5616-4D32D1E92533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5853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1E812-D362-469A-320E-0B0CA4885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1025121-7B54-A5A0-A091-6FE1A4A9DE6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44A57-BC45-5523-ED71-DE290030B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MEMBER SCREEN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C51D51-FB4E-4136-5442-6D46F2A7A3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432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D482D1B-351D-A164-F5C6-00A89FB8E2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4218" y="1697698"/>
            <a:ext cx="2917715" cy="99660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03CE4B35-3663-DC55-967C-464793402FBE}"/>
              </a:ext>
            </a:extLst>
          </p:cNvPr>
          <p:cNvGrpSpPr/>
          <p:nvPr/>
        </p:nvGrpSpPr>
        <p:grpSpPr>
          <a:xfrm>
            <a:off x="3381954" y="4491165"/>
            <a:ext cx="4135377" cy="2535001"/>
            <a:chOff x="2093095" y="1615002"/>
            <a:chExt cx="4135377" cy="2535001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74B36266-BACA-A607-6B96-797D9AF9D488}"/>
                </a:ext>
              </a:extLst>
            </p:cNvPr>
            <p:cNvSpPr/>
            <p:nvPr/>
          </p:nvSpPr>
          <p:spPr>
            <a:xfrm>
              <a:off x="3565236" y="1615002"/>
              <a:ext cx="2663236" cy="253500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D89A0ECF-8CC3-8871-A2FF-42E4FBEBBA7C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>
              <a:off x="2999870" y="1758739"/>
              <a:ext cx="56536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D9E9F88-77ED-9369-531E-792623C0E5EA}"/>
                </a:ext>
              </a:extLst>
            </p:cNvPr>
            <p:cNvSpPr/>
            <p:nvPr/>
          </p:nvSpPr>
          <p:spPr>
            <a:xfrm>
              <a:off x="2093095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6D23360-C1F2-8B04-55EB-1B4E250026C4}"/>
              </a:ext>
            </a:extLst>
          </p:cNvPr>
          <p:cNvGrpSpPr/>
          <p:nvPr/>
        </p:nvGrpSpPr>
        <p:grpSpPr>
          <a:xfrm>
            <a:off x="3315694" y="4556473"/>
            <a:ext cx="1823499" cy="803522"/>
            <a:chOff x="4942995" y="4328987"/>
            <a:chExt cx="1823499" cy="803522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86B8D0AE-9C51-53D0-87AF-00EC5D6B659A}"/>
                </a:ext>
              </a:extLst>
            </p:cNvPr>
            <p:cNvSpPr/>
            <p:nvPr/>
          </p:nvSpPr>
          <p:spPr>
            <a:xfrm>
              <a:off x="6510518" y="4328987"/>
              <a:ext cx="255976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0951B8E7-53EB-179A-33A4-DC25FDF245B5}"/>
                </a:ext>
              </a:extLst>
            </p:cNvPr>
            <p:cNvCxnSpPr>
              <a:cxnSpLocks/>
              <a:stCxn id="38" idx="3"/>
              <a:endCxn id="36" idx="2"/>
            </p:cNvCxnSpPr>
            <p:nvPr/>
          </p:nvCxnSpPr>
          <p:spPr>
            <a:xfrm flipV="1">
              <a:off x="5916031" y="4583052"/>
              <a:ext cx="722475" cy="4057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62AE97FD-196A-E08A-CACB-EC06E0FF3B97}"/>
                </a:ext>
              </a:extLst>
            </p:cNvPr>
            <p:cNvSpPr/>
            <p:nvPr/>
          </p:nvSpPr>
          <p:spPr>
            <a:xfrm>
              <a:off x="4942995" y="484503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E5B969E-A84F-F7BF-F1FD-C21B0ABC9AF6}"/>
              </a:ext>
            </a:extLst>
          </p:cNvPr>
          <p:cNvGrpSpPr/>
          <p:nvPr/>
        </p:nvGrpSpPr>
        <p:grpSpPr>
          <a:xfrm>
            <a:off x="6326589" y="3918347"/>
            <a:ext cx="1190742" cy="929298"/>
            <a:chOff x="6453385" y="3579935"/>
            <a:chExt cx="1190742" cy="929298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E5878D5B-771E-41BB-752C-9656806C431D}"/>
                </a:ext>
              </a:extLst>
            </p:cNvPr>
            <p:cNvSpPr/>
            <p:nvPr/>
          </p:nvSpPr>
          <p:spPr>
            <a:xfrm>
              <a:off x="6453385" y="4347556"/>
              <a:ext cx="1190742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4ACAFED5-26E5-F69C-6FC7-5BEFEBC5DA6E}"/>
                </a:ext>
              </a:extLst>
            </p:cNvPr>
            <p:cNvCxnSpPr>
              <a:cxnSpLocks/>
              <a:endCxn id="60" idx="0"/>
            </p:cNvCxnSpPr>
            <p:nvPr/>
          </p:nvCxnSpPr>
          <p:spPr>
            <a:xfrm>
              <a:off x="7048756" y="3869532"/>
              <a:ext cx="0" cy="4780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F5E8D5A0-36DC-AFB6-D9C8-E2BFA444C8A8}"/>
                </a:ext>
              </a:extLst>
            </p:cNvPr>
            <p:cNvSpPr/>
            <p:nvPr/>
          </p:nvSpPr>
          <p:spPr>
            <a:xfrm>
              <a:off x="6567353" y="3579935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….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8691249C-D96C-CAA3-40A9-EA8BCCF80FAC}"/>
              </a:ext>
            </a:extLst>
          </p:cNvPr>
          <p:cNvSpPr/>
          <p:nvPr/>
        </p:nvSpPr>
        <p:spPr>
          <a:xfrm>
            <a:off x="3381953" y="4070446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7F389FA-01B1-89BE-FF30-DB14C23900B7}"/>
              </a:ext>
            </a:extLst>
          </p:cNvPr>
          <p:cNvGrpSpPr/>
          <p:nvPr/>
        </p:nvGrpSpPr>
        <p:grpSpPr>
          <a:xfrm>
            <a:off x="168964" y="3073178"/>
            <a:ext cx="3365213" cy="617350"/>
            <a:chOff x="1824141" y="1648793"/>
            <a:chExt cx="3365213" cy="617350"/>
          </a:xfrm>
        </p:grpSpPr>
        <p:sp>
          <p:nvSpPr>
            <p:cNvPr id="69" name="Google Shape;229;g370fc456c4b_0_4">
              <a:extLst>
                <a:ext uri="{FF2B5EF4-FFF2-40B4-BE49-F238E27FC236}">
                  <a16:creationId xmlns:a16="http://schemas.microsoft.com/office/drawing/2014/main" id="{15EE00CB-4FC5-EC6B-087A-651FDCA3067C}"/>
                </a:ext>
              </a:extLst>
            </p:cNvPr>
            <p:cNvSpPr/>
            <p:nvPr/>
          </p:nvSpPr>
          <p:spPr>
            <a:xfrm>
              <a:off x="1824141" y="1648793"/>
              <a:ext cx="1848415" cy="617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0" name="Google Shape;230;g370fc456c4b_0_4">
              <a:extLst>
                <a:ext uri="{FF2B5EF4-FFF2-40B4-BE49-F238E27FC236}">
                  <a16:creationId xmlns:a16="http://schemas.microsoft.com/office/drawing/2014/main" id="{EA3B3242-9DB1-590F-4C45-2FF24AF8EF0A}"/>
                </a:ext>
              </a:extLst>
            </p:cNvPr>
            <p:cNvCxnSpPr>
              <a:cxnSpLocks/>
              <a:endCxn id="69" idx="3"/>
            </p:cNvCxnSpPr>
            <p:nvPr/>
          </p:nvCxnSpPr>
          <p:spPr>
            <a:xfrm flipH="1">
              <a:off x="3672556" y="1957468"/>
              <a:ext cx="40818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5D38E8EF-8D83-E35C-F48F-2D26E40F5467}"/>
                </a:ext>
              </a:extLst>
            </p:cNvPr>
            <p:cNvSpPr/>
            <p:nvPr/>
          </p:nvSpPr>
          <p:spPr>
            <a:xfrm>
              <a:off x="4080743" y="1794129"/>
              <a:ext cx="11086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A8306D6-6651-79E9-B899-8A9A8F4D7D9E}"/>
              </a:ext>
            </a:extLst>
          </p:cNvPr>
          <p:cNvGrpSpPr/>
          <p:nvPr/>
        </p:nvGrpSpPr>
        <p:grpSpPr>
          <a:xfrm>
            <a:off x="8334218" y="3690528"/>
            <a:ext cx="889782" cy="1120009"/>
            <a:chOff x="1824142" y="819243"/>
            <a:chExt cx="889782" cy="1120009"/>
          </a:xfrm>
        </p:grpSpPr>
        <p:sp>
          <p:nvSpPr>
            <p:cNvPr id="77" name="Google Shape;229;g370fc456c4b_0_4">
              <a:extLst>
                <a:ext uri="{FF2B5EF4-FFF2-40B4-BE49-F238E27FC236}">
                  <a16:creationId xmlns:a16="http://schemas.microsoft.com/office/drawing/2014/main" id="{113486AB-82D2-A752-ACE8-8E16753B8807}"/>
                </a:ext>
              </a:extLst>
            </p:cNvPr>
            <p:cNvSpPr/>
            <p:nvPr/>
          </p:nvSpPr>
          <p:spPr>
            <a:xfrm>
              <a:off x="1824142" y="1685187"/>
              <a:ext cx="889782" cy="25406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8" name="Google Shape;230;g370fc456c4b_0_4">
              <a:extLst>
                <a:ext uri="{FF2B5EF4-FFF2-40B4-BE49-F238E27FC236}">
                  <a16:creationId xmlns:a16="http://schemas.microsoft.com/office/drawing/2014/main" id="{CD0E38CC-B057-6719-F597-BC2276F511B5}"/>
                </a:ext>
              </a:extLst>
            </p:cNvPr>
            <p:cNvCxnSpPr>
              <a:cxnSpLocks/>
              <a:stCxn id="79" idx="2"/>
              <a:endCxn id="77" idx="0"/>
            </p:cNvCxnSpPr>
            <p:nvPr/>
          </p:nvCxnSpPr>
          <p:spPr>
            <a:xfrm>
              <a:off x="2268993" y="1106715"/>
              <a:ext cx="40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411AF045-F06B-CC4D-742C-BC2A56622086}"/>
                </a:ext>
              </a:extLst>
            </p:cNvPr>
            <p:cNvSpPr/>
            <p:nvPr/>
          </p:nvSpPr>
          <p:spPr>
            <a:xfrm>
              <a:off x="1912761" y="819243"/>
              <a:ext cx="71246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C5113EF-4995-16A7-39E6-6BADFA4222B7}"/>
              </a:ext>
            </a:extLst>
          </p:cNvPr>
          <p:cNvGrpSpPr/>
          <p:nvPr/>
        </p:nvGrpSpPr>
        <p:grpSpPr>
          <a:xfrm>
            <a:off x="9253441" y="3690528"/>
            <a:ext cx="2486704" cy="2902777"/>
            <a:chOff x="1748606" y="819243"/>
            <a:chExt cx="2486704" cy="290277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C40EBAE5-6DE4-72D5-C424-55C8828FCC9E}"/>
                </a:ext>
              </a:extLst>
            </p:cNvPr>
            <p:cNvSpPr/>
            <p:nvPr/>
          </p:nvSpPr>
          <p:spPr>
            <a:xfrm>
              <a:off x="1824141" y="1685187"/>
              <a:ext cx="2411169" cy="203683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1425D065-EC1F-2D07-DBAF-6F431C60D8CE}"/>
                </a:ext>
              </a:extLst>
            </p:cNvPr>
            <p:cNvCxnSpPr>
              <a:cxnSpLocks/>
              <a:stCxn id="90" idx="2"/>
              <a:endCxn id="88" idx="0"/>
            </p:cNvCxnSpPr>
            <p:nvPr/>
          </p:nvCxnSpPr>
          <p:spPr>
            <a:xfrm>
              <a:off x="2536012" y="1106715"/>
              <a:ext cx="493714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EAB897A8-24EF-3B2F-407E-5943B140F87B}"/>
                </a:ext>
              </a:extLst>
            </p:cNvPr>
            <p:cNvSpPr/>
            <p:nvPr/>
          </p:nvSpPr>
          <p:spPr>
            <a:xfrm>
              <a:off x="1748606" y="819243"/>
              <a:ext cx="157481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olePermission</a:t>
              </a:r>
              <a:endParaRPr lang="en-US" dirty="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878EEA4-C9AE-38AC-5BEF-12DABDE9EE8A}"/>
              </a:ext>
            </a:extLst>
          </p:cNvPr>
          <p:cNvGrpSpPr/>
          <p:nvPr/>
        </p:nvGrpSpPr>
        <p:grpSpPr>
          <a:xfrm>
            <a:off x="8422837" y="1549364"/>
            <a:ext cx="2812445" cy="1018529"/>
            <a:chOff x="-98521" y="954130"/>
            <a:chExt cx="2812445" cy="1018529"/>
          </a:xfrm>
        </p:grpSpPr>
        <p:sp>
          <p:nvSpPr>
            <p:cNvPr id="95" name="Google Shape;229;g370fc456c4b_0_4">
              <a:extLst>
                <a:ext uri="{FF2B5EF4-FFF2-40B4-BE49-F238E27FC236}">
                  <a16:creationId xmlns:a16="http://schemas.microsoft.com/office/drawing/2014/main" id="{A89C3473-B895-D99A-5C55-36F883F2FB5B}"/>
                </a:ext>
              </a:extLst>
            </p:cNvPr>
            <p:cNvSpPr/>
            <p:nvPr/>
          </p:nvSpPr>
          <p:spPr>
            <a:xfrm>
              <a:off x="-98521" y="1685187"/>
              <a:ext cx="2812445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6" name="Google Shape;230;g370fc456c4b_0_4">
              <a:extLst>
                <a:ext uri="{FF2B5EF4-FFF2-40B4-BE49-F238E27FC236}">
                  <a16:creationId xmlns:a16="http://schemas.microsoft.com/office/drawing/2014/main" id="{CE1F2776-8BAE-4FF8-CFA6-2A42AB6399F8}"/>
                </a:ext>
              </a:extLst>
            </p:cNvPr>
            <p:cNvCxnSpPr>
              <a:cxnSpLocks/>
              <a:endCxn id="95" idx="0"/>
            </p:cNvCxnSpPr>
            <p:nvPr/>
          </p:nvCxnSpPr>
          <p:spPr>
            <a:xfrm>
              <a:off x="1307702" y="1257420"/>
              <a:ext cx="0" cy="42776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FC54E316-B4E4-07F5-1038-47192B02A82D}"/>
                </a:ext>
              </a:extLst>
            </p:cNvPr>
            <p:cNvSpPr/>
            <p:nvPr/>
          </p:nvSpPr>
          <p:spPr>
            <a:xfrm>
              <a:off x="788303" y="954130"/>
              <a:ext cx="103879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E3C04A4-A5C5-E918-FC00-217461D536D0}"/>
              </a:ext>
            </a:extLst>
          </p:cNvPr>
          <p:cNvGrpSpPr/>
          <p:nvPr/>
        </p:nvGrpSpPr>
        <p:grpSpPr>
          <a:xfrm>
            <a:off x="8854077" y="2680003"/>
            <a:ext cx="1344563" cy="745830"/>
            <a:chOff x="6359592" y="3844630"/>
            <a:chExt cx="1344563" cy="745830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B2189075-78A8-C01B-CC2D-12D83FE39675}"/>
                </a:ext>
              </a:extLst>
            </p:cNvPr>
            <p:cNvSpPr/>
            <p:nvPr/>
          </p:nvSpPr>
          <p:spPr>
            <a:xfrm>
              <a:off x="6501755" y="4347556"/>
              <a:ext cx="1060239" cy="24290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DEDE1208-4D73-2AD7-1998-6EE559D60BAA}"/>
                </a:ext>
              </a:extLst>
            </p:cNvPr>
            <p:cNvCxnSpPr>
              <a:cxnSpLocks/>
              <a:endCxn id="103" idx="0"/>
            </p:cNvCxnSpPr>
            <p:nvPr/>
          </p:nvCxnSpPr>
          <p:spPr>
            <a:xfrm>
              <a:off x="7031875" y="4142161"/>
              <a:ext cx="0" cy="2053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F7BA6588-5EE1-E8F0-27EB-8679C25DCC8A}"/>
                </a:ext>
              </a:extLst>
            </p:cNvPr>
            <p:cNvSpPr/>
            <p:nvPr/>
          </p:nvSpPr>
          <p:spPr>
            <a:xfrm>
              <a:off x="6359592" y="3844630"/>
              <a:ext cx="1344563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0DA3C891-555A-110F-637B-ABE36CDEA4D9}"/>
              </a:ext>
            </a:extLst>
          </p:cNvPr>
          <p:cNvSpPr/>
          <p:nvPr/>
        </p:nvSpPr>
        <p:spPr>
          <a:xfrm>
            <a:off x="3381953" y="3618126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1DE76F5-E96E-276D-DED7-88ACAB4E072D}"/>
              </a:ext>
            </a:extLst>
          </p:cNvPr>
          <p:cNvGrpSpPr/>
          <p:nvPr/>
        </p:nvGrpSpPr>
        <p:grpSpPr>
          <a:xfrm>
            <a:off x="3315692" y="4685968"/>
            <a:ext cx="2973785" cy="1190671"/>
            <a:chOff x="4606061" y="4366888"/>
            <a:chExt cx="2973785" cy="1190671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CFE13B88-3AC4-D181-7E9B-B3FF5E589DC0}"/>
                </a:ext>
              </a:extLst>
            </p:cNvPr>
            <p:cNvSpPr/>
            <p:nvPr/>
          </p:nvSpPr>
          <p:spPr>
            <a:xfrm>
              <a:off x="6510517" y="4366888"/>
              <a:ext cx="1069329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F88B73DB-948B-E96A-B180-5BBF1801ED02}"/>
                </a:ext>
              </a:extLst>
            </p:cNvPr>
            <p:cNvCxnSpPr>
              <a:cxnSpLocks/>
              <a:stCxn id="119" idx="3"/>
              <a:endCxn id="117" idx="2"/>
            </p:cNvCxnSpPr>
            <p:nvPr/>
          </p:nvCxnSpPr>
          <p:spPr>
            <a:xfrm flipV="1">
              <a:off x="5579097" y="4528565"/>
              <a:ext cx="1466085" cy="88525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E813BE7F-C9BE-C9A6-0C8E-1D1B5BF96DC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04542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35D52-83AB-BB2D-C7B1-EB687F21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6D764365-2462-34B9-C13E-976B3C4FEA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1742"/>
            <a:ext cx="12192000" cy="576625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5AD73C5-F2AE-E978-79AE-92AD69BA2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MEMBER SCREEN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D0A15F-05E0-A463-9D80-A1F72313C77B}"/>
              </a:ext>
            </a:extLst>
          </p:cNvPr>
          <p:cNvGrpSpPr/>
          <p:nvPr/>
        </p:nvGrpSpPr>
        <p:grpSpPr>
          <a:xfrm>
            <a:off x="1718659" y="3414815"/>
            <a:ext cx="4113039" cy="1037100"/>
            <a:chOff x="2261692" y="1615002"/>
            <a:chExt cx="4113039" cy="1037100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87E113ED-1EAB-49EB-27F1-171F63BE98AA}"/>
                </a:ext>
              </a:extLst>
            </p:cNvPr>
            <p:cNvSpPr/>
            <p:nvPr/>
          </p:nvSpPr>
          <p:spPr>
            <a:xfrm>
              <a:off x="3565236" y="1615002"/>
              <a:ext cx="2809495" cy="10371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1BEE41BB-B19F-9270-A339-A9AD197771D3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835FFF1E-972B-C547-F6D4-5833BA1A21B1}"/>
                </a:ext>
              </a:extLst>
            </p:cNvPr>
            <p:cNvSpPr/>
            <p:nvPr/>
          </p:nvSpPr>
          <p:spPr>
            <a:xfrm>
              <a:off x="2261692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EA2D92E-A3CD-1FD1-93E1-EC6BBE1C6BDA}"/>
              </a:ext>
            </a:extLst>
          </p:cNvPr>
          <p:cNvSpPr/>
          <p:nvPr/>
        </p:nvSpPr>
        <p:spPr>
          <a:xfrm>
            <a:off x="1718658" y="2953110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2E95E3-B569-A9B7-A133-4C0E555F4ADB}"/>
              </a:ext>
            </a:extLst>
          </p:cNvPr>
          <p:cNvGrpSpPr/>
          <p:nvPr/>
        </p:nvGrpSpPr>
        <p:grpSpPr>
          <a:xfrm>
            <a:off x="1802218" y="3933365"/>
            <a:ext cx="1701442" cy="461259"/>
            <a:chOff x="5236667" y="4237326"/>
            <a:chExt cx="1701442" cy="46125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1B821008-97AD-7845-019B-5BEA20216704}"/>
                </a:ext>
              </a:extLst>
            </p:cNvPr>
            <p:cNvSpPr/>
            <p:nvPr/>
          </p:nvSpPr>
          <p:spPr>
            <a:xfrm>
              <a:off x="6510518" y="4237326"/>
              <a:ext cx="427591" cy="46125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03F870E4-EF55-9E68-39CF-4FE075A7DE53}"/>
                </a:ext>
              </a:extLst>
            </p:cNvPr>
            <p:cNvCxnSpPr>
              <a:cxnSpLocks/>
              <a:endCxn id="21" idx="1"/>
            </p:cNvCxnSpPr>
            <p:nvPr/>
          </p:nvCxnSpPr>
          <p:spPr>
            <a:xfrm>
              <a:off x="6059883" y="4467956"/>
              <a:ext cx="450635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457EB30-FFEF-5BAB-7D73-AF0A2F22EB39}"/>
                </a:ext>
              </a:extLst>
            </p:cNvPr>
            <p:cNvSpPr/>
            <p:nvPr/>
          </p:nvSpPr>
          <p:spPr>
            <a:xfrm>
              <a:off x="5236667" y="4324219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8DC6DBF-C0FB-4C02-99F6-90CFA1DBD08F}"/>
              </a:ext>
            </a:extLst>
          </p:cNvPr>
          <p:cNvGrpSpPr/>
          <p:nvPr/>
        </p:nvGrpSpPr>
        <p:grpSpPr>
          <a:xfrm>
            <a:off x="1589567" y="2422350"/>
            <a:ext cx="3753711" cy="471925"/>
            <a:chOff x="2132600" y="1615002"/>
            <a:chExt cx="3753711" cy="471925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4C0399A7-E038-749E-3351-35F1B9010ABF}"/>
                </a:ext>
              </a:extLst>
            </p:cNvPr>
            <p:cNvSpPr/>
            <p:nvPr/>
          </p:nvSpPr>
          <p:spPr>
            <a:xfrm>
              <a:off x="3565237" y="1615002"/>
              <a:ext cx="2321074" cy="4719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8E94C9B-DC1A-8673-9F97-F7A1067BFCD0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FE085F68-D6F8-31E7-8D49-F8E1FB40D1F1}"/>
                </a:ext>
              </a:extLst>
            </p:cNvPr>
            <p:cNvSpPr/>
            <p:nvPr/>
          </p:nvSpPr>
          <p:spPr>
            <a:xfrm>
              <a:off x="2132600" y="1615003"/>
              <a:ext cx="103586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FAA05E-0C59-04E6-72B9-A6DB99DA27FB}"/>
              </a:ext>
            </a:extLst>
          </p:cNvPr>
          <p:cNvGrpSpPr/>
          <p:nvPr/>
        </p:nvGrpSpPr>
        <p:grpSpPr>
          <a:xfrm>
            <a:off x="4031312" y="4500530"/>
            <a:ext cx="4428876" cy="1621973"/>
            <a:chOff x="2068359" y="1615002"/>
            <a:chExt cx="4428876" cy="16219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E6A80CCC-400D-DB67-0B02-705E9F987BE0}"/>
                </a:ext>
              </a:extLst>
            </p:cNvPr>
            <p:cNvSpPr/>
            <p:nvPr/>
          </p:nvSpPr>
          <p:spPr>
            <a:xfrm>
              <a:off x="3565237" y="1615002"/>
              <a:ext cx="2931998" cy="16219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4424643-6995-B73D-CCCD-399EDFA8371B}"/>
                </a:ext>
              </a:extLst>
            </p:cNvPr>
            <p:cNvCxnSpPr>
              <a:cxnSpLocks/>
            </p:cNvCxnSpPr>
            <p:nvPr/>
          </p:nvCxnSpPr>
          <p:spPr>
            <a:xfrm>
              <a:off x="3181940" y="2415114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68185598-C82A-9273-0DD9-4C82706024DB}"/>
                </a:ext>
              </a:extLst>
            </p:cNvPr>
            <p:cNvSpPr/>
            <p:nvPr/>
          </p:nvSpPr>
          <p:spPr>
            <a:xfrm>
              <a:off x="2068359" y="2271378"/>
              <a:ext cx="1113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C3A9652-94C1-1D54-98F8-C84653FE7F22}"/>
              </a:ext>
            </a:extLst>
          </p:cNvPr>
          <p:cNvGrpSpPr/>
          <p:nvPr/>
        </p:nvGrpSpPr>
        <p:grpSpPr>
          <a:xfrm>
            <a:off x="3836643" y="4627661"/>
            <a:ext cx="2468741" cy="1380080"/>
            <a:chOff x="4678752" y="3318506"/>
            <a:chExt cx="2468741" cy="1380080"/>
          </a:xfrm>
        </p:grpSpPr>
        <p:sp>
          <p:nvSpPr>
            <p:cNvPr id="47" name="Google Shape;229;g370fc456c4b_0_4">
              <a:extLst>
                <a:ext uri="{FF2B5EF4-FFF2-40B4-BE49-F238E27FC236}">
                  <a16:creationId xmlns:a16="http://schemas.microsoft.com/office/drawing/2014/main" id="{8CEC7D9B-ABF3-641C-7FAD-81D36DD7E511}"/>
                </a:ext>
              </a:extLst>
            </p:cNvPr>
            <p:cNvSpPr/>
            <p:nvPr/>
          </p:nvSpPr>
          <p:spPr>
            <a:xfrm>
              <a:off x="6510518" y="3318506"/>
              <a:ext cx="636975" cy="138008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8" name="Google Shape;230;g370fc456c4b_0_4">
              <a:extLst>
                <a:ext uri="{FF2B5EF4-FFF2-40B4-BE49-F238E27FC236}">
                  <a16:creationId xmlns:a16="http://schemas.microsoft.com/office/drawing/2014/main" id="{A108B33E-79FA-74EB-0424-49EC66DECCC5}"/>
                </a:ext>
              </a:extLst>
            </p:cNvPr>
            <p:cNvCxnSpPr>
              <a:cxnSpLocks/>
              <a:endCxn id="47" idx="1"/>
            </p:cNvCxnSpPr>
            <p:nvPr/>
          </p:nvCxnSpPr>
          <p:spPr>
            <a:xfrm flipV="1">
              <a:off x="6059883" y="4008546"/>
              <a:ext cx="450635" cy="4594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C4EE7A0-19C5-ADF6-A46E-C67813952788}"/>
                </a:ext>
              </a:extLst>
            </p:cNvPr>
            <p:cNvSpPr/>
            <p:nvPr/>
          </p:nvSpPr>
          <p:spPr>
            <a:xfrm>
              <a:off x="4678752" y="4324219"/>
              <a:ext cx="138113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1B424DF0-CAC3-41A9-8AFC-92695A3DC42A}"/>
              </a:ext>
            </a:extLst>
          </p:cNvPr>
          <p:cNvSpPr/>
          <p:nvPr/>
        </p:nvSpPr>
        <p:spPr>
          <a:xfrm>
            <a:off x="1416134" y="1890123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5A9A421-1F4D-5D93-DD4B-43B6AE49663C}"/>
              </a:ext>
            </a:extLst>
          </p:cNvPr>
          <p:cNvGrpSpPr/>
          <p:nvPr/>
        </p:nvGrpSpPr>
        <p:grpSpPr>
          <a:xfrm>
            <a:off x="1665183" y="4243765"/>
            <a:ext cx="3023775" cy="1190670"/>
            <a:chOff x="4606061" y="4366889"/>
            <a:chExt cx="3023775" cy="1190670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658521AD-D89A-EF30-1E71-28A805AC4272}"/>
                </a:ext>
              </a:extLst>
            </p:cNvPr>
            <p:cNvSpPr/>
            <p:nvPr/>
          </p:nvSpPr>
          <p:spPr>
            <a:xfrm>
              <a:off x="6510517" y="4366889"/>
              <a:ext cx="1119319" cy="15086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A817B8C0-B278-028F-93BC-B7550F32659C}"/>
                </a:ext>
              </a:extLst>
            </p:cNvPr>
            <p:cNvCxnSpPr>
              <a:cxnSpLocks/>
              <a:stCxn id="57" idx="3"/>
              <a:endCxn id="55" idx="2"/>
            </p:cNvCxnSpPr>
            <p:nvPr/>
          </p:nvCxnSpPr>
          <p:spPr>
            <a:xfrm flipV="1">
              <a:off x="5579097" y="4517749"/>
              <a:ext cx="1491080" cy="8960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892D0F50-B23A-CA06-C186-59EA7BBB7EA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7043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49C82F-F0EA-3D00-3A0B-6F99C1DD7C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3A9017-8702-0F02-BCFF-6BA119A30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MEMBER, ROLEPERMISSION, SHARELINK RELATIONSHIP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F48D39-5F9C-DCE9-2D5A-AE4E05C8A2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8" y="1196430"/>
            <a:ext cx="11425067" cy="537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5710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4C9DF2-122C-DAB3-02C0-22A594CD2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0BE016E-CE8C-BE1D-37D7-75EE1257451A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CD774F-DAAF-9989-AF61-D4E705709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MEMB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B85AE4-8385-9B51-1B4F-3C2B20F105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717"/>
          <a:stretch>
            <a:fillRect/>
          </a:stretch>
        </p:blipFill>
        <p:spPr>
          <a:xfrm>
            <a:off x="0" y="1098000"/>
            <a:ext cx="12192000" cy="576000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09B0C9B-8D56-0A9B-0917-12D60C61C305}"/>
              </a:ext>
            </a:extLst>
          </p:cNvPr>
          <p:cNvGrpSpPr/>
          <p:nvPr/>
        </p:nvGrpSpPr>
        <p:grpSpPr>
          <a:xfrm>
            <a:off x="2302281" y="4492499"/>
            <a:ext cx="3793719" cy="1411237"/>
            <a:chOff x="3565236" y="1615002"/>
            <a:chExt cx="3793719" cy="1411237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6AE1C315-4EEA-3833-D62E-75DD0E914557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08A02ABC-7829-2954-4F3D-FB47469DFD5E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5813690" y="1963097"/>
              <a:ext cx="638490" cy="7756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F25980-9908-9A67-57F0-CEAD87B776EA}"/>
                </a:ext>
              </a:extLst>
            </p:cNvPr>
            <p:cNvSpPr/>
            <p:nvPr/>
          </p:nvSpPr>
          <p:spPr>
            <a:xfrm>
              <a:off x="6452180" y="2738767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B23F399-7BBB-35E9-8AC5-2CEBC06DDD6F}"/>
              </a:ext>
            </a:extLst>
          </p:cNvPr>
          <p:cNvGrpSpPr/>
          <p:nvPr/>
        </p:nvGrpSpPr>
        <p:grpSpPr>
          <a:xfrm>
            <a:off x="2302281" y="5470891"/>
            <a:ext cx="2886944" cy="696189"/>
            <a:chOff x="3565236" y="1615002"/>
            <a:chExt cx="2886944" cy="696189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7B4025F5-9BDE-4A49-C025-D522E8796A20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EB117AC4-F614-605F-CD04-B329C5039972}"/>
                </a:ext>
              </a:extLst>
            </p:cNvPr>
            <p:cNvCxnSpPr>
              <a:cxnSpLocks/>
              <a:stCxn id="9" idx="1"/>
              <a:endCxn id="11" idx="3"/>
            </p:cNvCxnSpPr>
            <p:nvPr/>
          </p:nvCxnSpPr>
          <p:spPr>
            <a:xfrm flipH="1">
              <a:off x="5813690" y="1904111"/>
              <a:ext cx="638490" cy="5898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B41B94-B49A-6505-7F74-62AA64EEED75}"/>
              </a:ext>
            </a:extLst>
          </p:cNvPr>
          <p:cNvGrpSpPr/>
          <p:nvPr/>
        </p:nvGrpSpPr>
        <p:grpSpPr>
          <a:xfrm>
            <a:off x="2302281" y="5903736"/>
            <a:ext cx="2886944" cy="833019"/>
            <a:chOff x="3565236" y="1478172"/>
            <a:chExt cx="2886944" cy="83301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41952BB9-BE67-6B42-9A58-9F8F0E4EFA90}"/>
                </a:ext>
              </a:extLst>
            </p:cNvPr>
            <p:cNvSpPr/>
            <p:nvPr/>
          </p:nvSpPr>
          <p:spPr>
            <a:xfrm>
              <a:off x="3565236" y="2023719"/>
              <a:ext cx="2248454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7AE00F91-4F4A-F6AE-9926-8E26A64E6C3F}"/>
                </a:ext>
              </a:extLst>
            </p:cNvPr>
            <p:cNvCxnSpPr>
              <a:cxnSpLocks/>
              <a:endCxn id="15" idx="3"/>
            </p:cNvCxnSpPr>
            <p:nvPr/>
          </p:nvCxnSpPr>
          <p:spPr>
            <a:xfrm flipH="1">
              <a:off x="5813690" y="1478172"/>
              <a:ext cx="638490" cy="6892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5594723-051D-7A51-1469-F0A960F7A676}"/>
              </a:ext>
            </a:extLst>
          </p:cNvPr>
          <p:cNvGrpSpPr/>
          <p:nvPr/>
        </p:nvGrpSpPr>
        <p:grpSpPr>
          <a:xfrm>
            <a:off x="431999" y="4371254"/>
            <a:ext cx="2561066" cy="1562815"/>
            <a:chOff x="2053061" y="1407327"/>
            <a:chExt cx="2561066" cy="1562815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96013E2F-2BD7-E065-6278-25A80ED36604}"/>
                </a:ext>
              </a:extLst>
            </p:cNvPr>
            <p:cNvSpPr/>
            <p:nvPr/>
          </p:nvSpPr>
          <p:spPr>
            <a:xfrm>
              <a:off x="3923343" y="1407327"/>
              <a:ext cx="690784" cy="12124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A9AAC2B2-B4A0-DC4F-40ED-DC668B193A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33643" y="1464533"/>
              <a:ext cx="689700" cy="121813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99AA8F9-CDAC-AD25-B47C-451369D40FB1}"/>
                </a:ext>
              </a:extLst>
            </p:cNvPr>
            <p:cNvSpPr/>
            <p:nvPr/>
          </p:nvSpPr>
          <p:spPr>
            <a:xfrm>
              <a:off x="2053061" y="2682670"/>
              <a:ext cx="1180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wnerType</a:t>
              </a:r>
            </a:p>
          </p:txBody>
        </p:sp>
      </p:grpSp>
      <p:sp>
        <p:nvSpPr>
          <p:cNvPr id="39" name="Google Shape;229;g370fc456c4b_0_4">
            <a:extLst>
              <a:ext uri="{FF2B5EF4-FFF2-40B4-BE49-F238E27FC236}">
                <a16:creationId xmlns:a16="http://schemas.microsoft.com/office/drawing/2014/main" id="{6A4A5885-B2DE-5ECF-41C1-138B9DF7335D}"/>
              </a:ext>
            </a:extLst>
          </p:cNvPr>
          <p:cNvSpPr/>
          <p:nvPr/>
        </p:nvSpPr>
        <p:spPr>
          <a:xfrm>
            <a:off x="2302281" y="5302092"/>
            <a:ext cx="747850" cy="149924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0" name="Google Shape;230;g370fc456c4b_0_4">
            <a:extLst>
              <a:ext uri="{FF2B5EF4-FFF2-40B4-BE49-F238E27FC236}">
                <a16:creationId xmlns:a16="http://schemas.microsoft.com/office/drawing/2014/main" id="{EFBED342-64CF-C771-6E5E-D59D2B30B898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1612581" y="5387978"/>
            <a:ext cx="689700" cy="402355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4" name="Google Shape;229;g370fc456c4b_0_4">
            <a:extLst>
              <a:ext uri="{FF2B5EF4-FFF2-40B4-BE49-F238E27FC236}">
                <a16:creationId xmlns:a16="http://schemas.microsoft.com/office/drawing/2014/main" id="{DFE99836-8A5E-A661-B21E-E6614374137B}"/>
              </a:ext>
            </a:extLst>
          </p:cNvPr>
          <p:cNvSpPr/>
          <p:nvPr/>
        </p:nvSpPr>
        <p:spPr>
          <a:xfrm>
            <a:off x="2302280" y="6263545"/>
            <a:ext cx="984443" cy="14798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5" name="Google Shape;230;g370fc456c4b_0_4">
            <a:extLst>
              <a:ext uri="{FF2B5EF4-FFF2-40B4-BE49-F238E27FC236}">
                <a16:creationId xmlns:a16="http://schemas.microsoft.com/office/drawing/2014/main" id="{6352EAE6-D56A-111D-776B-A2DFE73B1317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1566629" y="5903736"/>
            <a:ext cx="735651" cy="43380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D633E42-77EB-9C37-D6E9-DA2821768D85}"/>
              </a:ext>
            </a:extLst>
          </p:cNvPr>
          <p:cNvSpPr/>
          <p:nvPr/>
        </p:nvSpPr>
        <p:spPr>
          <a:xfrm>
            <a:off x="5144564" y="4696857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9032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92A79-4C6F-8125-1CCE-125609A6C7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80EE60-27E4-514F-7AFB-94C5DA376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CARD, MEMB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D048DD-35C9-EA9B-D12D-0DA68DA9E3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936077"/>
            <a:ext cx="9821473" cy="5921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6144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6AB78C-A70D-438D-C96F-9F53730625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AAF3B8F-BF0F-40C8-6822-B286137EEBFC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FB661B-9BD0-EE86-1051-2B0FAC5A6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SETTINGS SCREEN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896880-1B5B-112A-B29D-6AA870AE9C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07628"/>
            <a:ext cx="6153911" cy="578923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C45EEB3-F722-9B73-BD1E-B03A886A71E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6986" t="-1" b="-1346"/>
          <a:stretch>
            <a:fillRect/>
          </a:stretch>
        </p:blipFill>
        <p:spPr>
          <a:xfrm>
            <a:off x="6153911" y="1107628"/>
            <a:ext cx="3218486" cy="5882246"/>
          </a:xfrm>
          <a:prstGeom prst="rect">
            <a:avLst/>
          </a:prstGeom>
        </p:spPr>
      </p:pic>
      <p:sp>
        <p:nvSpPr>
          <p:cNvPr id="42" name="Google Shape;229;g370fc456c4b_0_4">
            <a:extLst>
              <a:ext uri="{FF2B5EF4-FFF2-40B4-BE49-F238E27FC236}">
                <a16:creationId xmlns:a16="http://schemas.microsoft.com/office/drawing/2014/main" id="{11B51C99-4518-D3FA-A936-A1CAFA685BC8}"/>
              </a:ext>
            </a:extLst>
          </p:cNvPr>
          <p:cNvSpPr/>
          <p:nvPr/>
        </p:nvSpPr>
        <p:spPr>
          <a:xfrm>
            <a:off x="20544" y="1153356"/>
            <a:ext cx="6035461" cy="5658918"/>
          </a:xfrm>
          <a:prstGeom prst="rect">
            <a:avLst/>
          </a:prstGeom>
          <a:noFill/>
          <a:ln w="28575" cap="flat" cmpd="sng">
            <a:solidFill>
              <a:srgbClr val="EEB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C86C1AC-5940-17A0-EA17-ACFE8FF40AB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0065"/>
          <a:stretch>
            <a:fillRect/>
          </a:stretch>
        </p:blipFill>
        <p:spPr>
          <a:xfrm>
            <a:off x="9352531" y="1107628"/>
            <a:ext cx="2852260" cy="5903713"/>
          </a:xfrm>
          <a:prstGeom prst="rect">
            <a:avLst/>
          </a:prstGeom>
        </p:spPr>
      </p:pic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884D4809-85CF-A484-69BE-0E24EABFDE1C}"/>
              </a:ext>
            </a:extLst>
          </p:cNvPr>
          <p:cNvSpPr/>
          <p:nvPr/>
        </p:nvSpPr>
        <p:spPr>
          <a:xfrm>
            <a:off x="7181523" y="843325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A7EA5EC0-49C2-9E57-B313-9355082FE430}"/>
              </a:ext>
            </a:extLst>
          </p:cNvPr>
          <p:cNvSpPr/>
          <p:nvPr/>
        </p:nvSpPr>
        <p:spPr>
          <a:xfrm>
            <a:off x="2143845" y="822390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72" name="Google Shape;229;g370fc456c4b_0_4">
            <a:extLst>
              <a:ext uri="{FF2B5EF4-FFF2-40B4-BE49-F238E27FC236}">
                <a16:creationId xmlns:a16="http://schemas.microsoft.com/office/drawing/2014/main" id="{8CD2A186-C544-357F-D43B-A45BB329E2C8}"/>
              </a:ext>
            </a:extLst>
          </p:cNvPr>
          <p:cNvSpPr/>
          <p:nvPr/>
        </p:nvSpPr>
        <p:spPr>
          <a:xfrm>
            <a:off x="6164563" y="1153356"/>
            <a:ext cx="3120691" cy="5658918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D8D87419-D076-6E4D-C674-921945821646}"/>
              </a:ext>
            </a:extLst>
          </p:cNvPr>
          <p:cNvSpPr/>
          <p:nvPr/>
        </p:nvSpPr>
        <p:spPr>
          <a:xfrm>
            <a:off x="10193418" y="820156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8ED78BED-1C27-1CE8-3061-FD3FE1B369FE}"/>
              </a:ext>
            </a:extLst>
          </p:cNvPr>
          <p:cNvSpPr/>
          <p:nvPr/>
        </p:nvSpPr>
        <p:spPr>
          <a:xfrm>
            <a:off x="618769" y="1373610"/>
            <a:ext cx="1185647" cy="28808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3FD396E-E0A5-FA15-9441-59F860004322}"/>
              </a:ext>
            </a:extLst>
          </p:cNvPr>
          <p:cNvGrpSpPr/>
          <p:nvPr/>
        </p:nvGrpSpPr>
        <p:grpSpPr>
          <a:xfrm>
            <a:off x="972526" y="2141481"/>
            <a:ext cx="4342450" cy="1828756"/>
            <a:chOff x="205042" y="1441024"/>
            <a:chExt cx="4342450" cy="1828756"/>
          </a:xfrm>
        </p:grpSpPr>
        <p:sp>
          <p:nvSpPr>
            <p:cNvPr id="105" name="Google Shape;229;g370fc456c4b_0_4">
              <a:extLst>
                <a:ext uri="{FF2B5EF4-FFF2-40B4-BE49-F238E27FC236}">
                  <a16:creationId xmlns:a16="http://schemas.microsoft.com/office/drawing/2014/main" id="{FCD83B76-EC98-9A01-143D-713C2CAB987E}"/>
                </a:ext>
              </a:extLst>
            </p:cNvPr>
            <p:cNvSpPr/>
            <p:nvPr/>
          </p:nvSpPr>
          <p:spPr>
            <a:xfrm>
              <a:off x="1707652" y="1883894"/>
              <a:ext cx="2839840" cy="138588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6" name="Google Shape;230;g370fc456c4b_0_4">
              <a:extLst>
                <a:ext uri="{FF2B5EF4-FFF2-40B4-BE49-F238E27FC236}">
                  <a16:creationId xmlns:a16="http://schemas.microsoft.com/office/drawing/2014/main" id="{0CB42E9F-15C3-33A1-F3F3-4288D008EE5B}"/>
                </a:ext>
              </a:extLst>
            </p:cNvPr>
            <p:cNvCxnSpPr>
              <a:cxnSpLocks/>
            </p:cNvCxnSpPr>
            <p:nvPr/>
          </p:nvCxnSpPr>
          <p:spPr>
            <a:xfrm>
              <a:off x="1609746" y="1759943"/>
              <a:ext cx="129895" cy="14617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8A843AB7-D8BC-0FEF-5E84-448E1D1C325B}"/>
                </a:ext>
              </a:extLst>
            </p:cNvPr>
            <p:cNvSpPr/>
            <p:nvPr/>
          </p:nvSpPr>
          <p:spPr>
            <a:xfrm>
              <a:off x="205042" y="1441024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F1746C74-E4D3-D5CA-0879-029B994B48E9}"/>
              </a:ext>
            </a:extLst>
          </p:cNvPr>
          <p:cNvGrpSpPr/>
          <p:nvPr/>
        </p:nvGrpSpPr>
        <p:grpSpPr>
          <a:xfrm>
            <a:off x="1515474" y="2616206"/>
            <a:ext cx="2492875" cy="287472"/>
            <a:chOff x="5379472" y="4325780"/>
            <a:chExt cx="2492875" cy="287472"/>
          </a:xfrm>
        </p:grpSpPr>
        <p:sp>
          <p:nvSpPr>
            <p:cNvPr id="109" name="Google Shape;229;g370fc456c4b_0_4">
              <a:extLst>
                <a:ext uri="{FF2B5EF4-FFF2-40B4-BE49-F238E27FC236}">
                  <a16:creationId xmlns:a16="http://schemas.microsoft.com/office/drawing/2014/main" id="{F83560E6-3E1E-437C-1223-FED82F58BB0B}"/>
                </a:ext>
              </a:extLst>
            </p:cNvPr>
            <p:cNvSpPr/>
            <p:nvPr/>
          </p:nvSpPr>
          <p:spPr>
            <a:xfrm>
              <a:off x="6585932" y="4347556"/>
              <a:ext cx="1286415" cy="2428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0" name="Google Shape;230;g370fc456c4b_0_4">
              <a:extLst>
                <a:ext uri="{FF2B5EF4-FFF2-40B4-BE49-F238E27FC236}">
                  <a16:creationId xmlns:a16="http://schemas.microsoft.com/office/drawing/2014/main" id="{FD2250EB-2D2D-2DA2-1F7D-B23521F358BA}"/>
                </a:ext>
              </a:extLst>
            </p:cNvPr>
            <p:cNvCxnSpPr>
              <a:cxnSpLocks/>
              <a:stCxn id="111" idx="3"/>
              <a:endCxn id="109" idx="1"/>
            </p:cNvCxnSpPr>
            <p:nvPr/>
          </p:nvCxnSpPr>
          <p:spPr>
            <a:xfrm flipV="1">
              <a:off x="6259002" y="4468995"/>
              <a:ext cx="326930" cy="5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2C74B139-9755-C6CE-49EA-AA91BE33C699}"/>
                </a:ext>
              </a:extLst>
            </p:cNvPr>
            <p:cNvSpPr/>
            <p:nvPr/>
          </p:nvSpPr>
          <p:spPr>
            <a:xfrm>
              <a:off x="5379472" y="4325780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2966AB8-4B3B-1742-A8B4-AB0B56AB4D16}"/>
              </a:ext>
            </a:extLst>
          </p:cNvPr>
          <p:cNvGrpSpPr/>
          <p:nvPr/>
        </p:nvGrpSpPr>
        <p:grpSpPr>
          <a:xfrm>
            <a:off x="1350608" y="3085779"/>
            <a:ext cx="3880373" cy="752070"/>
            <a:chOff x="5393454" y="4347556"/>
            <a:chExt cx="3880373" cy="752070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31DB6D69-E15D-F39B-B9CC-1E34502CA7B7}"/>
                </a:ext>
              </a:extLst>
            </p:cNvPr>
            <p:cNvSpPr/>
            <p:nvPr/>
          </p:nvSpPr>
          <p:spPr>
            <a:xfrm>
              <a:off x="6585932" y="4347556"/>
              <a:ext cx="2687895" cy="7520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51817683-73EE-FA6F-A0CA-073737041CA9}"/>
                </a:ext>
              </a:extLst>
            </p:cNvPr>
            <p:cNvCxnSpPr>
              <a:cxnSpLocks/>
              <a:stCxn id="116" idx="3"/>
              <a:endCxn id="114" idx="1"/>
            </p:cNvCxnSpPr>
            <p:nvPr/>
          </p:nvCxnSpPr>
          <p:spPr>
            <a:xfrm>
              <a:off x="6420076" y="4723591"/>
              <a:ext cx="165856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9FD202BA-3AF2-46D1-A8DC-00109CB68771}"/>
                </a:ext>
              </a:extLst>
            </p:cNvPr>
            <p:cNvSpPr/>
            <p:nvPr/>
          </p:nvSpPr>
          <p:spPr>
            <a:xfrm>
              <a:off x="5393454" y="4579855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39" name="Google Shape;229;g370fc456c4b_0_4">
            <a:extLst>
              <a:ext uri="{FF2B5EF4-FFF2-40B4-BE49-F238E27FC236}">
                <a16:creationId xmlns:a16="http://schemas.microsoft.com/office/drawing/2014/main" id="{8E9F0287-FA83-5E05-5152-17DD85065890}"/>
              </a:ext>
            </a:extLst>
          </p:cNvPr>
          <p:cNvSpPr/>
          <p:nvPr/>
        </p:nvSpPr>
        <p:spPr>
          <a:xfrm>
            <a:off x="9440029" y="1107628"/>
            <a:ext cx="2731427" cy="5704645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A81AB8C-777D-5A3E-A6B1-93E2A165E709}"/>
              </a:ext>
            </a:extLst>
          </p:cNvPr>
          <p:cNvGrpSpPr/>
          <p:nvPr/>
        </p:nvGrpSpPr>
        <p:grpSpPr>
          <a:xfrm>
            <a:off x="8181474" y="5704644"/>
            <a:ext cx="1516600" cy="662962"/>
            <a:chOff x="3189421" y="1708960"/>
            <a:chExt cx="1516600" cy="662962"/>
          </a:xfrm>
        </p:grpSpPr>
        <p:cxnSp>
          <p:nvCxnSpPr>
            <p:cNvPr id="36" name="Google Shape;230;g370fc456c4b_0_4">
              <a:extLst>
                <a:ext uri="{FF2B5EF4-FFF2-40B4-BE49-F238E27FC236}">
                  <a16:creationId xmlns:a16="http://schemas.microsoft.com/office/drawing/2014/main" id="{A79E65E0-0BB7-206C-9E4F-CC160CC67372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189421" y="1985107"/>
              <a:ext cx="163929" cy="3868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284066B2-8104-93D8-BFCB-9C2C0681B340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CA49BE2-2E7C-00F9-FAD3-7C37446339EC}"/>
              </a:ext>
            </a:extLst>
          </p:cNvPr>
          <p:cNvGrpSpPr/>
          <p:nvPr/>
        </p:nvGrpSpPr>
        <p:grpSpPr>
          <a:xfrm>
            <a:off x="6763971" y="5961227"/>
            <a:ext cx="3836253" cy="812758"/>
            <a:chOff x="1812485" y="1607761"/>
            <a:chExt cx="3836253" cy="812758"/>
          </a:xfrm>
        </p:grpSpPr>
        <p:sp>
          <p:nvSpPr>
            <p:cNvPr id="97" name="Google Shape;229;g370fc456c4b_0_4">
              <a:extLst>
                <a:ext uri="{FF2B5EF4-FFF2-40B4-BE49-F238E27FC236}">
                  <a16:creationId xmlns:a16="http://schemas.microsoft.com/office/drawing/2014/main" id="{13EB5398-A920-D26D-F722-99C3963BC6EB}"/>
                </a:ext>
              </a:extLst>
            </p:cNvPr>
            <p:cNvSpPr/>
            <p:nvPr/>
          </p:nvSpPr>
          <p:spPr>
            <a:xfrm>
              <a:off x="1812485" y="1607761"/>
              <a:ext cx="1417503" cy="81275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8" name="Google Shape;230;g370fc456c4b_0_4">
              <a:extLst>
                <a:ext uri="{FF2B5EF4-FFF2-40B4-BE49-F238E27FC236}">
                  <a16:creationId xmlns:a16="http://schemas.microsoft.com/office/drawing/2014/main" id="{834A71C2-560C-5D2D-0535-371B84FFAEE9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229988" y="1959512"/>
              <a:ext cx="180851" cy="5462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3D359C29-A4E7-3346-0970-C7B2FE32CC94}"/>
                </a:ext>
              </a:extLst>
            </p:cNvPr>
            <p:cNvSpPr/>
            <p:nvPr/>
          </p:nvSpPr>
          <p:spPr>
            <a:xfrm>
              <a:off x="3414461" y="1781080"/>
              <a:ext cx="2234277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SettingOption</a:t>
              </a:r>
              <a:endParaRPr lang="en-US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D38EA0D-B708-A3B3-C120-7351AF5DCD8E}"/>
              </a:ext>
            </a:extLst>
          </p:cNvPr>
          <p:cNvGrpSpPr/>
          <p:nvPr/>
        </p:nvGrpSpPr>
        <p:grpSpPr>
          <a:xfrm>
            <a:off x="5380966" y="5638119"/>
            <a:ext cx="1824823" cy="287472"/>
            <a:chOff x="4992688" y="4303145"/>
            <a:chExt cx="1824823" cy="287472"/>
          </a:xfrm>
        </p:grpSpPr>
        <p:sp>
          <p:nvSpPr>
            <p:cNvPr id="61" name="Google Shape;229;g370fc456c4b_0_4">
              <a:extLst>
                <a:ext uri="{FF2B5EF4-FFF2-40B4-BE49-F238E27FC236}">
                  <a16:creationId xmlns:a16="http://schemas.microsoft.com/office/drawing/2014/main" id="{FCFFC3A4-0E18-62EF-AAFE-1385AA85928C}"/>
                </a:ext>
              </a:extLst>
            </p:cNvPr>
            <p:cNvSpPr/>
            <p:nvPr/>
          </p:nvSpPr>
          <p:spPr>
            <a:xfrm>
              <a:off x="6437210" y="4303145"/>
              <a:ext cx="380301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2" name="Google Shape;230;g370fc456c4b_0_4">
              <a:extLst>
                <a:ext uri="{FF2B5EF4-FFF2-40B4-BE49-F238E27FC236}">
                  <a16:creationId xmlns:a16="http://schemas.microsoft.com/office/drawing/2014/main" id="{7E0B5571-935B-80AF-78DA-42F32D520338}"/>
                </a:ext>
              </a:extLst>
            </p:cNvPr>
            <p:cNvCxnSpPr>
              <a:cxnSpLocks/>
              <a:endCxn id="61" idx="1"/>
            </p:cNvCxnSpPr>
            <p:nvPr/>
          </p:nvCxnSpPr>
          <p:spPr>
            <a:xfrm>
              <a:off x="6101962" y="4430178"/>
              <a:ext cx="33524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56074E2E-5DF0-BCD6-A150-D40FDE239108}"/>
                </a:ext>
              </a:extLst>
            </p:cNvPr>
            <p:cNvSpPr/>
            <p:nvPr/>
          </p:nvSpPr>
          <p:spPr>
            <a:xfrm>
              <a:off x="4992688" y="4303145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FEC8C1AD-201F-AA00-D9D4-F62CF208F262}"/>
              </a:ext>
            </a:extLst>
          </p:cNvPr>
          <p:cNvGrpSpPr/>
          <p:nvPr/>
        </p:nvGrpSpPr>
        <p:grpSpPr>
          <a:xfrm>
            <a:off x="8191772" y="5351424"/>
            <a:ext cx="1471896" cy="394973"/>
            <a:chOff x="3234125" y="1708960"/>
            <a:chExt cx="1471896" cy="394973"/>
          </a:xfrm>
        </p:grpSpPr>
        <p:cxnSp>
          <p:nvCxnSpPr>
            <p:cNvPr id="195" name="Google Shape;230;g370fc456c4b_0_4">
              <a:extLst>
                <a:ext uri="{FF2B5EF4-FFF2-40B4-BE49-F238E27FC236}">
                  <a16:creationId xmlns:a16="http://schemas.microsoft.com/office/drawing/2014/main" id="{6140CA59-6214-854E-54DE-9BFEBA9D6783}"/>
                </a:ext>
              </a:extLst>
            </p:cNvPr>
            <p:cNvCxnSpPr>
              <a:cxnSpLocks/>
              <a:endCxn id="142" idx="3"/>
            </p:cNvCxnSpPr>
            <p:nvPr/>
          </p:nvCxnSpPr>
          <p:spPr>
            <a:xfrm flipH="1">
              <a:off x="3234125" y="1978167"/>
              <a:ext cx="111176" cy="12576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6" name="Rectangle: Rounded Corners 195">
              <a:extLst>
                <a:ext uri="{FF2B5EF4-FFF2-40B4-BE49-F238E27FC236}">
                  <a16:creationId xmlns:a16="http://schemas.microsoft.com/office/drawing/2014/main" id="{7F9C03FA-5D8E-FB73-940E-AD38E14F7633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500316D5-670F-7D88-0FB3-1ACCE8369691}"/>
              </a:ext>
            </a:extLst>
          </p:cNvPr>
          <p:cNvGrpSpPr/>
          <p:nvPr/>
        </p:nvGrpSpPr>
        <p:grpSpPr>
          <a:xfrm>
            <a:off x="2519916" y="4640143"/>
            <a:ext cx="2454825" cy="537603"/>
            <a:chOff x="864743" y="1500500"/>
            <a:chExt cx="2454825" cy="537603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6428D94F-C486-2324-1238-C225317E1FD0}"/>
                </a:ext>
              </a:extLst>
            </p:cNvPr>
            <p:cNvSpPr/>
            <p:nvPr/>
          </p:nvSpPr>
          <p:spPr>
            <a:xfrm>
              <a:off x="864743" y="1500500"/>
              <a:ext cx="703254" cy="42297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967E1111-BD53-A432-34F5-2D50E799C1F2}"/>
                </a:ext>
              </a:extLst>
            </p:cNvPr>
            <p:cNvCxnSpPr>
              <a:cxnSpLocks/>
              <a:stCxn id="201" idx="1"/>
              <a:endCxn id="199" idx="3"/>
            </p:cNvCxnSpPr>
            <p:nvPr/>
          </p:nvCxnSpPr>
          <p:spPr>
            <a:xfrm flipH="1" flipV="1">
              <a:off x="1567997" y="1711985"/>
              <a:ext cx="373222" cy="1666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E5465B68-238B-2C89-3F20-C6A7D80769F8}"/>
                </a:ext>
              </a:extLst>
            </p:cNvPr>
            <p:cNvSpPr/>
            <p:nvPr/>
          </p:nvSpPr>
          <p:spPr>
            <a:xfrm>
              <a:off x="1941219" y="1719184"/>
              <a:ext cx="1378349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38D0D94D-280C-D1DC-3A8E-01FB0E9A505E}"/>
              </a:ext>
            </a:extLst>
          </p:cNvPr>
          <p:cNvGrpSpPr/>
          <p:nvPr/>
        </p:nvGrpSpPr>
        <p:grpSpPr>
          <a:xfrm>
            <a:off x="3233822" y="4426667"/>
            <a:ext cx="1604626" cy="378766"/>
            <a:chOff x="-1876225" y="907950"/>
            <a:chExt cx="1604626" cy="378766"/>
          </a:xfrm>
        </p:grpSpPr>
        <p:cxnSp>
          <p:nvCxnSpPr>
            <p:cNvPr id="203" name="Google Shape;230;g370fc456c4b_0_4">
              <a:extLst>
                <a:ext uri="{FF2B5EF4-FFF2-40B4-BE49-F238E27FC236}">
                  <a16:creationId xmlns:a16="http://schemas.microsoft.com/office/drawing/2014/main" id="{F089CA19-53EE-B3BC-C98B-0F8ACB78A042}"/>
                </a:ext>
              </a:extLst>
            </p:cNvPr>
            <p:cNvCxnSpPr>
              <a:cxnSpLocks/>
              <a:stCxn id="204" idx="1"/>
            </p:cNvCxnSpPr>
            <p:nvPr/>
          </p:nvCxnSpPr>
          <p:spPr>
            <a:xfrm flipH="1">
              <a:off x="-1876225" y="1051686"/>
              <a:ext cx="348589" cy="23503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4" name="Rectangle: Rounded Corners 203">
              <a:extLst>
                <a:ext uri="{FF2B5EF4-FFF2-40B4-BE49-F238E27FC236}">
                  <a16:creationId xmlns:a16="http://schemas.microsoft.com/office/drawing/2014/main" id="{600A07A2-03CD-BA3C-658A-00A31E4E5B8A}"/>
                </a:ext>
              </a:extLst>
            </p:cNvPr>
            <p:cNvSpPr/>
            <p:nvPr/>
          </p:nvSpPr>
          <p:spPr>
            <a:xfrm>
              <a:off x="-1527636" y="907950"/>
              <a:ext cx="125603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sp>
        <p:nvSpPr>
          <p:cNvPr id="234" name="Google Shape;229;g370fc456c4b_0_4">
            <a:extLst>
              <a:ext uri="{FF2B5EF4-FFF2-40B4-BE49-F238E27FC236}">
                <a16:creationId xmlns:a16="http://schemas.microsoft.com/office/drawing/2014/main" id="{069902CB-6608-EA2A-B7BB-0A316D54960B}"/>
              </a:ext>
            </a:extLst>
          </p:cNvPr>
          <p:cNvSpPr/>
          <p:nvPr/>
        </p:nvSpPr>
        <p:spPr>
          <a:xfrm>
            <a:off x="9494451" y="3632148"/>
            <a:ext cx="2477809" cy="1620911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235" name="Google Shape;230;g370fc456c4b_0_4">
            <a:extLst>
              <a:ext uri="{FF2B5EF4-FFF2-40B4-BE49-F238E27FC236}">
                <a16:creationId xmlns:a16="http://schemas.microsoft.com/office/drawing/2014/main" id="{8B15E6DC-5EA4-F487-EE4A-379929AA8345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9698074" y="5262687"/>
            <a:ext cx="1004683" cy="58569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cxnSp>
        <p:nvCxnSpPr>
          <p:cNvPr id="238" name="Google Shape;230;g370fc456c4b_0_4">
            <a:extLst>
              <a:ext uri="{FF2B5EF4-FFF2-40B4-BE49-F238E27FC236}">
                <a16:creationId xmlns:a16="http://schemas.microsoft.com/office/drawing/2014/main" id="{8D2DE512-AD53-D8D8-5BEB-43460E3E2B95}"/>
              </a:ext>
            </a:extLst>
          </p:cNvPr>
          <p:cNvCxnSpPr>
            <a:cxnSpLocks/>
            <a:endCxn id="234" idx="2"/>
          </p:cNvCxnSpPr>
          <p:nvPr/>
        </p:nvCxnSpPr>
        <p:spPr>
          <a:xfrm flipV="1">
            <a:off x="10600224" y="5253059"/>
            <a:ext cx="133132" cy="88148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CC2C880-716B-2FAA-71FF-FBB28F9E63E9}"/>
              </a:ext>
            </a:extLst>
          </p:cNvPr>
          <p:cNvGrpSpPr/>
          <p:nvPr/>
        </p:nvGrpSpPr>
        <p:grpSpPr>
          <a:xfrm>
            <a:off x="6395938" y="3316472"/>
            <a:ext cx="2839840" cy="1996090"/>
            <a:chOff x="1707652" y="1153862"/>
            <a:chExt cx="2839840" cy="1996090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2FE129FF-2A17-434F-01B5-9D807982DF08}"/>
                </a:ext>
              </a:extLst>
            </p:cNvPr>
            <p:cNvSpPr/>
            <p:nvPr/>
          </p:nvSpPr>
          <p:spPr>
            <a:xfrm>
              <a:off x="1707652" y="1759943"/>
              <a:ext cx="2839840" cy="13900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04B8CDC3-EA2B-2F8B-E85F-8BEA5FDCB37E}"/>
                </a:ext>
              </a:extLst>
            </p:cNvPr>
            <p:cNvCxnSpPr>
              <a:cxnSpLocks/>
            </p:cNvCxnSpPr>
            <p:nvPr/>
          </p:nvCxnSpPr>
          <p:spPr>
            <a:xfrm>
              <a:off x="3822311" y="1487116"/>
              <a:ext cx="0" cy="25136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FDC6317-86BE-0670-E64C-C82825895D04}"/>
                </a:ext>
              </a:extLst>
            </p:cNvPr>
            <p:cNvSpPr/>
            <p:nvPr/>
          </p:nvSpPr>
          <p:spPr>
            <a:xfrm>
              <a:off x="3084203" y="1153862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9008F08-D1CA-046E-6685-9347389BC234}"/>
              </a:ext>
            </a:extLst>
          </p:cNvPr>
          <p:cNvGrpSpPr/>
          <p:nvPr/>
        </p:nvGrpSpPr>
        <p:grpSpPr>
          <a:xfrm>
            <a:off x="6763970" y="3999451"/>
            <a:ext cx="2155096" cy="619225"/>
            <a:chOff x="6762476" y="4319088"/>
            <a:chExt cx="2155096" cy="619225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77AB3783-E8F3-0FE4-8F81-852237351D40}"/>
                </a:ext>
              </a:extLst>
            </p:cNvPr>
            <p:cNvSpPr/>
            <p:nvPr/>
          </p:nvSpPr>
          <p:spPr>
            <a:xfrm>
              <a:off x="6762476" y="4757371"/>
              <a:ext cx="1031625" cy="1809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9A5DAD7-98F8-FB08-3A26-FCC6FD7236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94101" y="4450059"/>
              <a:ext cx="243941" cy="30731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00F7A63-413A-F46E-CB13-29837DC96AEA}"/>
                </a:ext>
              </a:extLst>
            </p:cNvPr>
            <p:cNvSpPr/>
            <p:nvPr/>
          </p:nvSpPr>
          <p:spPr>
            <a:xfrm>
              <a:off x="8038042" y="4319088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50868D3-A36B-D5CF-055F-1F31B1EB0FF5}"/>
              </a:ext>
            </a:extLst>
          </p:cNvPr>
          <p:cNvGrpSpPr/>
          <p:nvPr/>
        </p:nvGrpSpPr>
        <p:grpSpPr>
          <a:xfrm>
            <a:off x="5531335" y="4640143"/>
            <a:ext cx="3620448" cy="603494"/>
            <a:chOff x="5653379" y="4439767"/>
            <a:chExt cx="3620448" cy="603494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902137A7-0A83-049B-B94C-10D12ACA5C76}"/>
                </a:ext>
              </a:extLst>
            </p:cNvPr>
            <p:cNvSpPr/>
            <p:nvPr/>
          </p:nvSpPr>
          <p:spPr>
            <a:xfrm>
              <a:off x="6860746" y="4439767"/>
              <a:ext cx="2413081" cy="6034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5" name="Google Shape;230;g370fc456c4b_0_4">
              <a:extLst>
                <a:ext uri="{FF2B5EF4-FFF2-40B4-BE49-F238E27FC236}">
                  <a16:creationId xmlns:a16="http://schemas.microsoft.com/office/drawing/2014/main" id="{6B9C4747-DAAC-E39E-E0BB-66323C632A46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6673258" y="4685285"/>
              <a:ext cx="187488" cy="5622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CAD6DADA-E845-D695-7887-6D3E48625048}"/>
                </a:ext>
              </a:extLst>
            </p:cNvPr>
            <p:cNvSpPr/>
            <p:nvPr/>
          </p:nvSpPr>
          <p:spPr>
            <a:xfrm>
              <a:off x="5653379" y="4555043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51F2FF2-2EFB-055B-28CC-F0EC15ED6F53}"/>
              </a:ext>
            </a:extLst>
          </p:cNvPr>
          <p:cNvGrpSpPr/>
          <p:nvPr/>
        </p:nvGrpSpPr>
        <p:grpSpPr>
          <a:xfrm>
            <a:off x="9470066" y="1652119"/>
            <a:ext cx="2579242" cy="1488578"/>
            <a:chOff x="1727652" y="1515543"/>
            <a:chExt cx="2579242" cy="1488578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76B80AEB-546C-A100-4516-43289DFAED6D}"/>
                </a:ext>
              </a:extLst>
            </p:cNvPr>
            <p:cNvSpPr/>
            <p:nvPr/>
          </p:nvSpPr>
          <p:spPr>
            <a:xfrm>
              <a:off x="1727652" y="2160796"/>
              <a:ext cx="2108790" cy="8433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023BC87D-1A01-89CE-C343-32227518EDB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21604" y="1853893"/>
              <a:ext cx="678478" cy="30690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71A2A44C-A587-5D36-9C04-75F0F8460EE4}"/>
                </a:ext>
              </a:extLst>
            </p:cNvPr>
            <p:cNvSpPr/>
            <p:nvPr/>
          </p:nvSpPr>
          <p:spPr>
            <a:xfrm>
              <a:off x="2893271" y="1515543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285B88C-4C7C-9DEF-7BFF-2985DB5233B8}"/>
              </a:ext>
            </a:extLst>
          </p:cNvPr>
          <p:cNvGrpSpPr/>
          <p:nvPr/>
        </p:nvGrpSpPr>
        <p:grpSpPr>
          <a:xfrm>
            <a:off x="9527517" y="2672753"/>
            <a:ext cx="1952237" cy="287472"/>
            <a:chOff x="6585933" y="4324469"/>
            <a:chExt cx="1952237" cy="287472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63D3152-56A0-BF29-B3D5-F29840ECBF4B}"/>
                </a:ext>
              </a:extLst>
            </p:cNvPr>
            <p:cNvSpPr/>
            <p:nvPr/>
          </p:nvSpPr>
          <p:spPr>
            <a:xfrm>
              <a:off x="6585933" y="4347557"/>
              <a:ext cx="768480" cy="19470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3C16C631-DB71-D05A-F922-56323D0790DB}"/>
                </a:ext>
              </a:extLst>
            </p:cNvPr>
            <p:cNvCxnSpPr>
              <a:cxnSpLocks/>
              <a:stCxn id="65" idx="1"/>
              <a:endCxn id="59" idx="3"/>
            </p:cNvCxnSpPr>
            <p:nvPr/>
          </p:nvCxnSpPr>
          <p:spPr>
            <a:xfrm flipH="1" flipV="1">
              <a:off x="7354413" y="4444910"/>
              <a:ext cx="304227" cy="232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04FFD14-CE48-2BAD-A6E1-82E0D2EBC5D5}"/>
                </a:ext>
              </a:extLst>
            </p:cNvPr>
            <p:cNvSpPr/>
            <p:nvPr/>
          </p:nvSpPr>
          <p:spPr>
            <a:xfrm>
              <a:off x="7658640" y="4324469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CE19E6B7-B6FD-68FD-2342-AD8A7ED71BA7}"/>
              </a:ext>
            </a:extLst>
          </p:cNvPr>
          <p:cNvGrpSpPr/>
          <p:nvPr/>
        </p:nvGrpSpPr>
        <p:grpSpPr>
          <a:xfrm>
            <a:off x="9549824" y="2900175"/>
            <a:ext cx="2159674" cy="611222"/>
            <a:chOff x="6437210" y="4244183"/>
            <a:chExt cx="2159674" cy="611222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870B600F-4680-FACE-5712-4668AA37060E}"/>
                </a:ext>
              </a:extLst>
            </p:cNvPr>
            <p:cNvSpPr/>
            <p:nvPr/>
          </p:nvSpPr>
          <p:spPr>
            <a:xfrm>
              <a:off x="6437210" y="4244183"/>
              <a:ext cx="457800" cy="1719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7A960572-8F69-09B5-CE51-57F492534880}"/>
                </a:ext>
              </a:extLst>
            </p:cNvPr>
            <p:cNvCxnSpPr>
              <a:cxnSpLocks/>
              <a:endCxn id="84" idx="3"/>
            </p:cNvCxnSpPr>
            <p:nvPr/>
          </p:nvCxnSpPr>
          <p:spPr>
            <a:xfrm flipH="1" flipV="1">
              <a:off x="6895010" y="4330149"/>
              <a:ext cx="592600" cy="34064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DE1374E0-64DF-0E00-9D39-A7D77BD54A99}"/>
                </a:ext>
              </a:extLst>
            </p:cNvPr>
            <p:cNvSpPr/>
            <p:nvPr/>
          </p:nvSpPr>
          <p:spPr>
            <a:xfrm>
              <a:off x="7487610" y="4567933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4ECBF3D-2016-03F1-D772-D0CC9F378153}"/>
              </a:ext>
            </a:extLst>
          </p:cNvPr>
          <p:cNvGrpSpPr/>
          <p:nvPr/>
        </p:nvGrpSpPr>
        <p:grpSpPr>
          <a:xfrm>
            <a:off x="1166213" y="4678737"/>
            <a:ext cx="1889018" cy="287472"/>
            <a:chOff x="5031075" y="4351854"/>
            <a:chExt cx="1889018" cy="287472"/>
          </a:xfrm>
        </p:grpSpPr>
        <p:sp>
          <p:nvSpPr>
            <p:cNvPr id="100" name="Google Shape;229;g370fc456c4b_0_4">
              <a:extLst>
                <a:ext uri="{FF2B5EF4-FFF2-40B4-BE49-F238E27FC236}">
                  <a16:creationId xmlns:a16="http://schemas.microsoft.com/office/drawing/2014/main" id="{E76BD7B2-9008-D2A5-1E4F-3969E083083B}"/>
                </a:ext>
              </a:extLst>
            </p:cNvPr>
            <p:cNvSpPr/>
            <p:nvPr/>
          </p:nvSpPr>
          <p:spPr>
            <a:xfrm>
              <a:off x="6407948" y="4398322"/>
              <a:ext cx="512145" cy="1604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1" name="Google Shape;230;g370fc456c4b_0_4">
              <a:extLst>
                <a:ext uri="{FF2B5EF4-FFF2-40B4-BE49-F238E27FC236}">
                  <a16:creationId xmlns:a16="http://schemas.microsoft.com/office/drawing/2014/main" id="{6A6678A1-65B9-BC80-9D0D-27C62FB96C2A}"/>
                </a:ext>
              </a:extLst>
            </p:cNvPr>
            <p:cNvCxnSpPr>
              <a:cxnSpLocks/>
              <a:endCxn id="100" idx="1"/>
            </p:cNvCxnSpPr>
            <p:nvPr/>
          </p:nvCxnSpPr>
          <p:spPr>
            <a:xfrm>
              <a:off x="6133974" y="4478550"/>
              <a:ext cx="273974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2" name="Rectangle: Rounded Corners 101">
              <a:extLst>
                <a:ext uri="{FF2B5EF4-FFF2-40B4-BE49-F238E27FC236}">
                  <a16:creationId xmlns:a16="http://schemas.microsoft.com/office/drawing/2014/main" id="{7D85E303-3077-DAAB-8B6D-372DA5FC2A50}"/>
                </a:ext>
              </a:extLst>
            </p:cNvPr>
            <p:cNvSpPr/>
            <p:nvPr/>
          </p:nvSpPr>
          <p:spPr>
            <a:xfrm>
              <a:off x="5031075" y="4351854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42" name="Google Shape;229;g370fc456c4b_0_4">
            <a:extLst>
              <a:ext uri="{FF2B5EF4-FFF2-40B4-BE49-F238E27FC236}">
                <a16:creationId xmlns:a16="http://schemas.microsoft.com/office/drawing/2014/main" id="{208D8071-3367-B334-25D4-B1721DDF8E7E}"/>
              </a:ext>
            </a:extLst>
          </p:cNvPr>
          <p:cNvSpPr/>
          <p:nvPr/>
        </p:nvSpPr>
        <p:spPr>
          <a:xfrm>
            <a:off x="6774269" y="5577293"/>
            <a:ext cx="1417503" cy="33820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152" name="Google Shape;230;g370fc456c4b_0_4">
            <a:extLst>
              <a:ext uri="{FF2B5EF4-FFF2-40B4-BE49-F238E27FC236}">
                <a16:creationId xmlns:a16="http://schemas.microsoft.com/office/drawing/2014/main" id="{010F0FCB-884F-7659-FC1B-535B340ABFC0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8191772" y="5746397"/>
            <a:ext cx="136869" cy="10293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2815981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54A31-E508-E0AD-0F17-6ED995F58D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C8E0E5-DFBB-4DBC-3B1F-A39CBA995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WORKSPACE, BOARD, CARD, SETTING RELATIONSHIP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723EC7-A537-07FD-2291-21146A003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7" y="936202"/>
            <a:ext cx="10509859" cy="592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65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bbv Software Services AG 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05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>
                <a:solidFill>
                  <a:srgbClr val="C00000"/>
                </a:solidFill>
              </a:rPr>
              <a:t>Presentation on Trello Functionalities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A6D70-2953-33FC-17BB-5CFC650E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5B5CE69-1454-2556-7546-04C4F46C1D9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0FD9BF-2CD7-BE9D-784E-31EF0BFE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8CE48A-1E56-C2F1-2E26-E7E884CE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3013"/>
          </a:xfrm>
          <a:prstGeom prst="rect">
            <a:avLst/>
          </a:prstGeom>
        </p:spPr>
      </p:pic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3DF29E-BBE8-8B5C-FE64-ABFA2ECF9BF9}"/>
              </a:ext>
            </a:extLst>
          </p:cNvPr>
          <p:cNvSpPr/>
          <p:nvPr/>
        </p:nvSpPr>
        <p:spPr>
          <a:xfrm>
            <a:off x="1764923" y="1490907"/>
            <a:ext cx="1829041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Category</a:t>
            </a:r>
            <a:endParaRPr lang="en-US" dirty="0"/>
          </a:p>
        </p:txBody>
      </p:sp>
      <p:sp>
        <p:nvSpPr>
          <p:cNvPr id="73" name="Google Shape;229;g370fc456c4b_0_4">
            <a:extLst>
              <a:ext uri="{FF2B5EF4-FFF2-40B4-BE49-F238E27FC236}">
                <a16:creationId xmlns:a16="http://schemas.microsoft.com/office/drawing/2014/main" id="{48010874-7095-A449-8638-55B6C39A1AA9}"/>
              </a:ext>
            </a:extLst>
          </p:cNvPr>
          <p:cNvSpPr/>
          <p:nvPr/>
        </p:nvSpPr>
        <p:spPr>
          <a:xfrm>
            <a:off x="3882337" y="1767133"/>
            <a:ext cx="4644975" cy="151205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74" name="Google Shape;230;g370fc456c4b_0_4">
            <a:extLst>
              <a:ext uri="{FF2B5EF4-FFF2-40B4-BE49-F238E27FC236}">
                <a16:creationId xmlns:a16="http://schemas.microsoft.com/office/drawing/2014/main" id="{58A67F86-330A-5944-236B-4D91418770F6}"/>
              </a:ext>
            </a:extLst>
          </p:cNvPr>
          <p:cNvCxnSpPr>
            <a:cxnSpLocks/>
          </p:cNvCxnSpPr>
          <p:nvPr/>
        </p:nvCxnSpPr>
        <p:spPr>
          <a:xfrm>
            <a:off x="3604437" y="1643558"/>
            <a:ext cx="277900" cy="13564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58B456D-B0F5-23BD-F733-722B738C4356}"/>
              </a:ext>
            </a:extLst>
          </p:cNvPr>
          <p:cNvGrpSpPr/>
          <p:nvPr/>
        </p:nvGrpSpPr>
        <p:grpSpPr>
          <a:xfrm>
            <a:off x="2111300" y="5886666"/>
            <a:ext cx="2314627" cy="305302"/>
            <a:chOff x="1622823" y="5101643"/>
            <a:chExt cx="2314627" cy="305302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2E9CC88A-BC9B-04C2-D7E8-1DE6E7CBCAFE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0A913C80-E97D-0379-C745-3F2D1A4E2F7F}"/>
                </a:ext>
              </a:extLst>
            </p:cNvPr>
            <p:cNvCxnSpPr>
              <a:cxnSpLocks/>
              <a:stCxn id="90" idx="3"/>
              <a:endCxn id="88" idx="1"/>
            </p:cNvCxnSpPr>
            <p:nvPr/>
          </p:nvCxnSpPr>
          <p:spPr>
            <a:xfrm>
              <a:off x="3268689" y="5254294"/>
              <a:ext cx="245789" cy="860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81CB1A3D-1B46-E644-2203-1BFD1ADE27E9}"/>
                </a:ext>
              </a:extLst>
            </p:cNvPr>
            <p:cNvSpPr/>
            <p:nvPr/>
          </p:nvSpPr>
          <p:spPr>
            <a:xfrm>
              <a:off x="1622823" y="5101643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44C845C-E960-95C3-3AD7-B8FB5340A1C2}"/>
              </a:ext>
            </a:extLst>
          </p:cNvPr>
          <p:cNvGrpSpPr/>
          <p:nvPr/>
        </p:nvGrpSpPr>
        <p:grpSpPr>
          <a:xfrm>
            <a:off x="2315048" y="3429000"/>
            <a:ext cx="3780952" cy="2762968"/>
            <a:chOff x="1918948" y="4965749"/>
            <a:chExt cx="3780952" cy="2762968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770F090F-0E12-11E0-68B7-A9C3A53AE54D}"/>
                </a:ext>
              </a:extLst>
            </p:cNvPr>
            <p:cNvSpPr/>
            <p:nvPr/>
          </p:nvSpPr>
          <p:spPr>
            <a:xfrm>
              <a:off x="3514477" y="5398823"/>
              <a:ext cx="2185423" cy="232989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1B103711-A64C-439B-B2C9-92133D077AC6}"/>
                </a:ext>
              </a:extLst>
            </p:cNvPr>
            <p:cNvCxnSpPr>
              <a:cxnSpLocks/>
            </p:cNvCxnSpPr>
            <p:nvPr/>
          </p:nvCxnSpPr>
          <p:spPr>
            <a:xfrm>
              <a:off x="3019199" y="5268633"/>
              <a:ext cx="495278" cy="1337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5F9FC22E-F55C-B4E9-EBD0-736A34C1E99E}"/>
                </a:ext>
              </a:extLst>
            </p:cNvPr>
            <p:cNvSpPr/>
            <p:nvPr/>
          </p:nvSpPr>
          <p:spPr>
            <a:xfrm>
              <a:off x="1918948" y="4965749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E0FB71C-B558-B6D6-1CBC-F9A40201F1A8}"/>
              </a:ext>
            </a:extLst>
          </p:cNvPr>
          <p:cNvGrpSpPr/>
          <p:nvPr/>
        </p:nvGrpSpPr>
        <p:grpSpPr>
          <a:xfrm>
            <a:off x="2735777" y="5547399"/>
            <a:ext cx="3068675" cy="323865"/>
            <a:chOff x="5294660" y="4347556"/>
            <a:chExt cx="3068675" cy="323865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5695C9ED-A5BD-E5CC-AC6C-9332FABEEB93}"/>
                </a:ext>
              </a:extLst>
            </p:cNvPr>
            <p:cNvSpPr/>
            <p:nvPr/>
          </p:nvSpPr>
          <p:spPr>
            <a:xfrm>
              <a:off x="6585932" y="4347556"/>
              <a:ext cx="1777403" cy="3238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B4B0746B-6F30-0EF7-BF51-A13BC9F5916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>
              <a:off x="6325678" y="4493271"/>
              <a:ext cx="260254" cy="162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029E78D-9217-CE48-8BE6-48F5950D47D8}"/>
                </a:ext>
              </a:extLst>
            </p:cNvPr>
            <p:cNvSpPr/>
            <p:nvPr/>
          </p:nvSpPr>
          <p:spPr>
            <a:xfrm>
              <a:off x="5294660" y="434953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2706A31-F018-FD50-D763-F6440C8441C0}"/>
              </a:ext>
            </a:extLst>
          </p:cNvPr>
          <p:cNvGrpSpPr/>
          <p:nvPr/>
        </p:nvGrpSpPr>
        <p:grpSpPr>
          <a:xfrm>
            <a:off x="3228230" y="5130589"/>
            <a:ext cx="1987827" cy="289292"/>
            <a:chOff x="5828334" y="4254611"/>
            <a:chExt cx="1987827" cy="28929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608BE643-6B8A-0ABF-6BFC-C92A8946F365}"/>
                </a:ext>
              </a:extLst>
            </p:cNvPr>
            <p:cNvSpPr/>
            <p:nvPr/>
          </p:nvSpPr>
          <p:spPr>
            <a:xfrm>
              <a:off x="6585933" y="4347556"/>
              <a:ext cx="1230228" cy="1963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A332E48B-434C-6819-0434-D1AC19924FD5}"/>
                </a:ext>
              </a:extLst>
            </p:cNvPr>
            <p:cNvCxnSpPr>
              <a:cxnSpLocks/>
              <a:stCxn id="16" idx="3"/>
              <a:endCxn id="14" idx="1"/>
            </p:cNvCxnSpPr>
            <p:nvPr/>
          </p:nvCxnSpPr>
          <p:spPr>
            <a:xfrm>
              <a:off x="6366899" y="4398347"/>
              <a:ext cx="219034" cy="473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CDFBD0C-2920-27AD-69D8-A8CF63323082}"/>
                </a:ext>
              </a:extLst>
            </p:cNvPr>
            <p:cNvSpPr/>
            <p:nvPr/>
          </p:nvSpPr>
          <p:spPr>
            <a:xfrm>
              <a:off x="5828334" y="4254611"/>
              <a:ext cx="53856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5E07A2B-E45C-4742-3522-5B859B1FB3C5}"/>
              </a:ext>
            </a:extLst>
          </p:cNvPr>
          <p:cNvGrpSpPr/>
          <p:nvPr/>
        </p:nvGrpSpPr>
        <p:grpSpPr>
          <a:xfrm>
            <a:off x="2232837" y="4034942"/>
            <a:ext cx="3770398" cy="1051834"/>
            <a:chOff x="4945579" y="4347556"/>
            <a:chExt cx="3770398" cy="105183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C031E975-F52A-7915-CC02-902FD3377850}"/>
                </a:ext>
              </a:extLst>
            </p:cNvPr>
            <p:cNvSpPr/>
            <p:nvPr/>
          </p:nvSpPr>
          <p:spPr>
            <a:xfrm>
              <a:off x="6585933" y="4347556"/>
              <a:ext cx="2130044" cy="1051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45EB677A-4058-4A87-A79A-11AB804A8FF3}"/>
                </a:ext>
              </a:extLst>
            </p:cNvPr>
            <p:cNvCxnSpPr>
              <a:cxnSpLocks/>
              <a:stCxn id="25" idx="3"/>
              <a:endCxn id="23" idx="1"/>
            </p:cNvCxnSpPr>
            <p:nvPr/>
          </p:nvCxnSpPr>
          <p:spPr>
            <a:xfrm>
              <a:off x="6210254" y="4851268"/>
              <a:ext cx="375679" cy="2220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EA9C73C9-0A11-C51B-B969-BD72B2DF5C4B}"/>
                </a:ext>
              </a:extLst>
            </p:cNvPr>
            <p:cNvSpPr/>
            <p:nvPr/>
          </p:nvSpPr>
          <p:spPr>
            <a:xfrm>
              <a:off x="4945579" y="4707532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F6A6199-7593-6700-AC5A-1A866522B305}"/>
              </a:ext>
            </a:extLst>
          </p:cNvPr>
          <p:cNvGrpSpPr/>
          <p:nvPr/>
        </p:nvGrpSpPr>
        <p:grpSpPr>
          <a:xfrm>
            <a:off x="2310272" y="2274540"/>
            <a:ext cx="2453114" cy="803913"/>
            <a:chOff x="4964759" y="4347556"/>
            <a:chExt cx="2453114" cy="803913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327C3AE5-90AA-23D3-E2D9-A96F25E0D072}"/>
                </a:ext>
              </a:extLst>
            </p:cNvPr>
            <p:cNvSpPr/>
            <p:nvPr/>
          </p:nvSpPr>
          <p:spPr>
            <a:xfrm>
              <a:off x="6585933" y="4347556"/>
              <a:ext cx="831940" cy="80391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1E78DCAC-8582-F227-234D-EED7122B77F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6229434" y="4749512"/>
              <a:ext cx="3564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141D96A7-6783-4527-0431-4ECD18D407FD}"/>
                </a:ext>
              </a:extLst>
            </p:cNvPr>
            <p:cNvSpPr/>
            <p:nvPr/>
          </p:nvSpPr>
          <p:spPr>
            <a:xfrm>
              <a:off x="4964759" y="4605776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809E736-F36E-CF82-BD4A-D319ED0D3B5B}"/>
              </a:ext>
            </a:extLst>
          </p:cNvPr>
          <p:cNvGrpSpPr/>
          <p:nvPr/>
        </p:nvGrpSpPr>
        <p:grpSpPr>
          <a:xfrm>
            <a:off x="2627394" y="3050754"/>
            <a:ext cx="2022272" cy="287472"/>
            <a:chOff x="5102226" y="4254611"/>
            <a:chExt cx="2022272" cy="28747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3282E5D-3EE8-760F-6019-1A1CBE952384}"/>
                </a:ext>
              </a:extLst>
            </p:cNvPr>
            <p:cNvSpPr/>
            <p:nvPr/>
          </p:nvSpPr>
          <p:spPr>
            <a:xfrm>
              <a:off x="6585933" y="4347556"/>
              <a:ext cx="538565" cy="1354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076B5B80-0E25-059A-88CA-BDADE917F7E5}"/>
                </a:ext>
              </a:extLst>
            </p:cNvPr>
            <p:cNvCxnSpPr>
              <a:cxnSpLocks/>
              <a:stCxn id="48" idx="3"/>
              <a:endCxn id="46" idx="1"/>
            </p:cNvCxnSpPr>
            <p:nvPr/>
          </p:nvCxnSpPr>
          <p:spPr>
            <a:xfrm>
              <a:off x="6366900" y="4398347"/>
              <a:ext cx="219033" cy="169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B98E0C8E-428C-661D-983E-79B57D86D2EB}"/>
                </a:ext>
              </a:extLst>
            </p:cNvPr>
            <p:cNvSpPr/>
            <p:nvPr/>
          </p:nvSpPr>
          <p:spPr>
            <a:xfrm>
              <a:off x="5102226" y="4254611"/>
              <a:ext cx="12646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tegor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7FA9EA1-7700-0C51-AE2A-8A70DAD4DB52}"/>
              </a:ext>
            </a:extLst>
          </p:cNvPr>
          <p:cNvGrpSpPr/>
          <p:nvPr/>
        </p:nvGrpSpPr>
        <p:grpSpPr>
          <a:xfrm>
            <a:off x="2136383" y="5957024"/>
            <a:ext cx="2819598" cy="625240"/>
            <a:chOff x="1190158" y="5398823"/>
            <a:chExt cx="2819598" cy="625240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9543B5F1-F488-9E4F-9EBE-44BD9489D63A}"/>
                </a:ext>
              </a:extLst>
            </p:cNvPr>
            <p:cNvSpPr/>
            <p:nvPr/>
          </p:nvSpPr>
          <p:spPr>
            <a:xfrm>
              <a:off x="3514478" y="5398823"/>
              <a:ext cx="495278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1395E17B-CD5B-B133-9940-7C16D11ECBCB}"/>
                </a:ext>
              </a:extLst>
            </p:cNvPr>
            <p:cNvCxnSpPr>
              <a:cxnSpLocks/>
              <a:endCxn id="53" idx="2"/>
            </p:cNvCxnSpPr>
            <p:nvPr/>
          </p:nvCxnSpPr>
          <p:spPr>
            <a:xfrm flipV="1">
              <a:off x="2845717" y="5575482"/>
              <a:ext cx="916400" cy="2790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AE5647F0-55F0-3E9F-E838-C8137847D4FF}"/>
                </a:ext>
              </a:extLst>
            </p:cNvPr>
            <p:cNvSpPr/>
            <p:nvPr/>
          </p:nvSpPr>
          <p:spPr>
            <a:xfrm>
              <a:off x="1190158" y="5718761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BF36BCB-EB1B-F7A5-CA57-F27E47DB3AC0}"/>
              </a:ext>
            </a:extLst>
          </p:cNvPr>
          <p:cNvGrpSpPr/>
          <p:nvPr/>
        </p:nvGrpSpPr>
        <p:grpSpPr>
          <a:xfrm>
            <a:off x="4148980" y="5195192"/>
            <a:ext cx="2686490" cy="329103"/>
            <a:chOff x="6597595" y="4143341"/>
            <a:chExt cx="2686490" cy="32910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BF24B36C-65B0-E870-1321-78DD4AFF3D40}"/>
                </a:ext>
              </a:extLst>
            </p:cNvPr>
            <p:cNvSpPr/>
            <p:nvPr/>
          </p:nvSpPr>
          <p:spPr>
            <a:xfrm>
              <a:off x="6597595" y="4366210"/>
              <a:ext cx="512349" cy="1062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6298952F-6553-40E3-5EF7-035B24D49FA6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>
              <a:off x="7109944" y="4287077"/>
              <a:ext cx="1143123" cy="1322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D1B16424-D047-FF21-027B-E799E5D3D922}"/>
                </a:ext>
              </a:extLst>
            </p:cNvPr>
            <p:cNvSpPr/>
            <p:nvPr/>
          </p:nvSpPr>
          <p:spPr>
            <a:xfrm>
              <a:off x="8253067" y="4143341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2CD0B6A8-0454-B5FD-480B-F1A8B0285387}"/>
              </a:ext>
            </a:extLst>
          </p:cNvPr>
          <p:cNvSpPr/>
          <p:nvPr/>
        </p:nvSpPr>
        <p:spPr>
          <a:xfrm>
            <a:off x="6835470" y="4586877"/>
            <a:ext cx="641062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F02240C-83B3-11DF-F5B8-BEFC85AABA10}"/>
              </a:ext>
            </a:extLst>
          </p:cNvPr>
          <p:cNvGrpSpPr/>
          <p:nvPr/>
        </p:nvGrpSpPr>
        <p:grpSpPr>
          <a:xfrm>
            <a:off x="3994184" y="4004163"/>
            <a:ext cx="3356795" cy="1075324"/>
            <a:chOff x="6597595" y="3611400"/>
            <a:chExt cx="3356795" cy="1075324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94643DAF-73FF-67D1-E7DC-4172B367CDC7}"/>
                </a:ext>
              </a:extLst>
            </p:cNvPr>
            <p:cNvSpPr/>
            <p:nvPr/>
          </p:nvSpPr>
          <p:spPr>
            <a:xfrm>
              <a:off x="6597595" y="4366210"/>
              <a:ext cx="431743" cy="3205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4338511A-AD97-BFA4-B483-309083FD1162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7029338" y="3755136"/>
              <a:ext cx="1894034" cy="7713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38893B35-3854-322D-2CF3-595A2B70039F}"/>
                </a:ext>
              </a:extLst>
            </p:cNvPr>
            <p:cNvSpPr/>
            <p:nvPr/>
          </p:nvSpPr>
          <p:spPr>
            <a:xfrm>
              <a:off x="8923372" y="3611400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440E9E2A-64DA-E475-F054-E5E79D13BA81}"/>
              </a:ext>
            </a:extLst>
          </p:cNvPr>
          <p:cNvSpPr/>
          <p:nvPr/>
        </p:nvSpPr>
        <p:spPr>
          <a:xfrm>
            <a:off x="1029903" y="3433093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788892-A780-3A07-CCE1-CC169F3654C6}"/>
              </a:ext>
            </a:extLst>
          </p:cNvPr>
          <p:cNvSpPr/>
          <p:nvPr/>
        </p:nvSpPr>
        <p:spPr>
          <a:xfrm>
            <a:off x="1029903" y="3885546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7561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6A6FA-962C-70B7-2148-61B7ED697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A69354-1D32-B28B-64CD-5751404EBE0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029499-DD9D-2518-857E-347ADCB9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493A6B-BC53-E9F4-18DF-6255A00A2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6296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AE5A1-3AAD-3A18-4F05-8B3D833C0F7C}"/>
              </a:ext>
            </a:extLst>
          </p:cNvPr>
          <p:cNvGrpSpPr/>
          <p:nvPr/>
        </p:nvGrpSpPr>
        <p:grpSpPr>
          <a:xfrm>
            <a:off x="3432630" y="1615287"/>
            <a:ext cx="6025029" cy="5549009"/>
            <a:chOff x="3237737" y="4532133"/>
            <a:chExt cx="6025029" cy="5549009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EF39A0D6-874D-BD77-DB92-6643D053CDFE}"/>
                </a:ext>
              </a:extLst>
            </p:cNvPr>
            <p:cNvSpPr/>
            <p:nvPr/>
          </p:nvSpPr>
          <p:spPr>
            <a:xfrm>
              <a:off x="3614523" y="5254528"/>
              <a:ext cx="5648243" cy="482661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AAD022F5-A6B6-8131-E7D0-838F0986D47D}"/>
                </a:ext>
              </a:extLst>
            </p:cNvPr>
            <p:cNvCxnSpPr>
              <a:cxnSpLocks/>
              <a:stCxn id="32" idx="2"/>
            </p:cNvCxnSpPr>
            <p:nvPr/>
          </p:nvCxnSpPr>
          <p:spPr>
            <a:xfrm>
              <a:off x="3787863" y="4837435"/>
              <a:ext cx="486934" cy="41709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9DC196-E75A-1F64-17F0-3F15C10D5667}"/>
                </a:ext>
              </a:extLst>
            </p:cNvPr>
            <p:cNvSpPr/>
            <p:nvPr/>
          </p:nvSpPr>
          <p:spPr>
            <a:xfrm>
              <a:off x="3237737" y="4532133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C171DA9B-34B7-8725-C271-D7055EAC43AE}"/>
              </a:ext>
            </a:extLst>
          </p:cNvPr>
          <p:cNvSpPr/>
          <p:nvPr/>
        </p:nvSpPr>
        <p:spPr>
          <a:xfrm>
            <a:off x="4615412" y="1625460"/>
            <a:ext cx="69521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359297-43C0-5C2D-E367-7EEE8918E3D1}"/>
              </a:ext>
            </a:extLst>
          </p:cNvPr>
          <p:cNvGrpSpPr/>
          <p:nvPr/>
        </p:nvGrpSpPr>
        <p:grpSpPr>
          <a:xfrm>
            <a:off x="2311110" y="3128478"/>
            <a:ext cx="7054271" cy="2550427"/>
            <a:chOff x="5004747" y="4347556"/>
            <a:chExt cx="7054271" cy="2550427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7FBC42AE-FFF0-9D4B-F9B4-31D79EB0D88E}"/>
                </a:ext>
              </a:extLst>
            </p:cNvPr>
            <p:cNvSpPr/>
            <p:nvPr/>
          </p:nvSpPr>
          <p:spPr>
            <a:xfrm>
              <a:off x="6585932" y="4347556"/>
              <a:ext cx="5473086" cy="255042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3744F337-C94D-DFA5-099F-7BA2CAC34B67}"/>
                </a:ext>
              </a:extLst>
            </p:cNvPr>
            <p:cNvCxnSpPr>
              <a:cxnSpLocks/>
              <a:stCxn id="11" idx="3"/>
              <a:endCxn id="9" idx="1"/>
            </p:cNvCxnSpPr>
            <p:nvPr/>
          </p:nvCxnSpPr>
          <p:spPr>
            <a:xfrm>
              <a:off x="6035765" y="5622770"/>
              <a:ext cx="55016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153E1DAD-10D8-10E3-B2E7-847635CC6E61}"/>
                </a:ext>
              </a:extLst>
            </p:cNvPr>
            <p:cNvSpPr/>
            <p:nvPr/>
          </p:nvSpPr>
          <p:spPr>
            <a:xfrm>
              <a:off x="5004747" y="5479034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1628BBB-3F8D-1546-CBCB-2D712820D57B}"/>
              </a:ext>
            </a:extLst>
          </p:cNvPr>
          <p:cNvGrpSpPr/>
          <p:nvPr/>
        </p:nvGrpSpPr>
        <p:grpSpPr>
          <a:xfrm>
            <a:off x="1892909" y="2656648"/>
            <a:ext cx="3354979" cy="305302"/>
            <a:chOff x="874505" y="5078849"/>
            <a:chExt cx="3354979" cy="305302"/>
          </a:xfrm>
        </p:grpSpPr>
        <p:sp>
          <p:nvSpPr>
            <p:cNvPr id="18" name="Google Shape;229;g370fc456c4b_0_4">
              <a:extLst>
                <a:ext uri="{FF2B5EF4-FFF2-40B4-BE49-F238E27FC236}">
                  <a16:creationId xmlns:a16="http://schemas.microsoft.com/office/drawing/2014/main" id="{E9FD5BBF-07D5-D059-F16D-7B08CF8A08EA}"/>
                </a:ext>
              </a:extLst>
            </p:cNvPr>
            <p:cNvSpPr/>
            <p:nvPr/>
          </p:nvSpPr>
          <p:spPr>
            <a:xfrm>
              <a:off x="3514477" y="5174568"/>
              <a:ext cx="71500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" name="Google Shape;230;g370fc456c4b_0_4">
              <a:extLst>
                <a:ext uri="{FF2B5EF4-FFF2-40B4-BE49-F238E27FC236}">
                  <a16:creationId xmlns:a16="http://schemas.microsoft.com/office/drawing/2014/main" id="{D26D714D-72AD-70C4-43A8-3FCA5824E757}"/>
                </a:ext>
              </a:extLst>
            </p:cNvPr>
            <p:cNvCxnSpPr>
              <a:cxnSpLocks/>
              <a:stCxn id="20" idx="3"/>
              <a:endCxn id="18" idx="1"/>
            </p:cNvCxnSpPr>
            <p:nvPr/>
          </p:nvCxnSpPr>
          <p:spPr>
            <a:xfrm>
              <a:off x="2520371" y="5231500"/>
              <a:ext cx="994106" cy="3139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3F9AE09-DC28-7557-7531-3E4E65A6736D}"/>
                </a:ext>
              </a:extLst>
            </p:cNvPr>
            <p:cNvSpPr/>
            <p:nvPr/>
          </p:nvSpPr>
          <p:spPr>
            <a:xfrm>
              <a:off x="874505" y="5078849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0FC9A2-188E-80CC-FD20-5A74B6A9492B}"/>
              </a:ext>
            </a:extLst>
          </p:cNvPr>
          <p:cNvGrpSpPr/>
          <p:nvPr/>
        </p:nvGrpSpPr>
        <p:grpSpPr>
          <a:xfrm>
            <a:off x="1886285" y="2751282"/>
            <a:ext cx="4096195" cy="848274"/>
            <a:chOff x="86752" y="5398823"/>
            <a:chExt cx="4096195" cy="848274"/>
          </a:xfrm>
        </p:grpSpPr>
        <p:sp>
          <p:nvSpPr>
            <p:cNvPr id="22" name="Google Shape;229;g370fc456c4b_0_4">
              <a:extLst>
                <a:ext uri="{FF2B5EF4-FFF2-40B4-BE49-F238E27FC236}">
                  <a16:creationId xmlns:a16="http://schemas.microsoft.com/office/drawing/2014/main" id="{CE0CBCD3-B095-ACD9-C877-00F3CBD20046}"/>
                </a:ext>
              </a:extLst>
            </p:cNvPr>
            <p:cNvSpPr/>
            <p:nvPr/>
          </p:nvSpPr>
          <p:spPr>
            <a:xfrm>
              <a:off x="3487730" y="5398823"/>
              <a:ext cx="69521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3" name="Google Shape;230;g370fc456c4b_0_4">
              <a:extLst>
                <a:ext uri="{FF2B5EF4-FFF2-40B4-BE49-F238E27FC236}">
                  <a16:creationId xmlns:a16="http://schemas.microsoft.com/office/drawing/2014/main" id="{6E0B9CA4-19BC-A040-AE30-C87A6498762F}"/>
                </a:ext>
              </a:extLst>
            </p:cNvPr>
            <p:cNvCxnSpPr>
              <a:cxnSpLocks/>
              <a:stCxn id="24" idx="3"/>
              <a:endCxn id="22" idx="2"/>
            </p:cNvCxnSpPr>
            <p:nvPr/>
          </p:nvCxnSpPr>
          <p:spPr>
            <a:xfrm flipV="1">
              <a:off x="1739242" y="5575482"/>
              <a:ext cx="2096097" cy="5189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0A3E362-847D-AAFA-80F1-48E8AF22EF0F}"/>
                </a:ext>
              </a:extLst>
            </p:cNvPr>
            <p:cNvSpPr/>
            <p:nvPr/>
          </p:nvSpPr>
          <p:spPr>
            <a:xfrm>
              <a:off x="86752" y="5941795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5C996F7-9B6F-D382-18EA-7242DD3C485F}"/>
              </a:ext>
            </a:extLst>
          </p:cNvPr>
          <p:cNvGrpSpPr/>
          <p:nvPr/>
        </p:nvGrpSpPr>
        <p:grpSpPr>
          <a:xfrm>
            <a:off x="7729728" y="3085869"/>
            <a:ext cx="4157472" cy="608350"/>
            <a:chOff x="4836190" y="4347557"/>
            <a:chExt cx="4157472" cy="608350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D87B57DB-12A1-EAC1-088B-7DA39A8D3D2D}"/>
                </a:ext>
              </a:extLst>
            </p:cNvPr>
            <p:cNvSpPr/>
            <p:nvPr/>
          </p:nvSpPr>
          <p:spPr>
            <a:xfrm>
              <a:off x="6585932" y="4347557"/>
              <a:ext cx="2407730" cy="60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A4E29168-D5F5-22C6-F7D6-C556C3C3A27D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 flipV="1">
              <a:off x="5908805" y="4651732"/>
              <a:ext cx="677127" cy="5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3B37E24E-5CBC-A0BA-E1B5-CE1517069F0A}"/>
                </a:ext>
              </a:extLst>
            </p:cNvPr>
            <p:cNvSpPr/>
            <p:nvPr/>
          </p:nvSpPr>
          <p:spPr>
            <a:xfrm>
              <a:off x="4836190" y="4555942"/>
              <a:ext cx="1072615" cy="30530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46C099-D26C-6B30-5D47-1B8056364C53}"/>
              </a:ext>
            </a:extLst>
          </p:cNvPr>
          <p:cNvGrpSpPr/>
          <p:nvPr/>
        </p:nvGrpSpPr>
        <p:grpSpPr>
          <a:xfrm>
            <a:off x="5119960" y="2507291"/>
            <a:ext cx="2803042" cy="287472"/>
            <a:chOff x="6585932" y="4323216"/>
            <a:chExt cx="2803042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53167085-CC92-728C-0EAD-4CD66D0DC30D}"/>
                </a:ext>
              </a:extLst>
            </p:cNvPr>
            <p:cNvSpPr/>
            <p:nvPr/>
          </p:nvSpPr>
          <p:spPr>
            <a:xfrm>
              <a:off x="6585932" y="4414556"/>
              <a:ext cx="592322" cy="1430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6" name="Google Shape;230;g370fc456c4b_0_4">
              <a:extLst>
                <a:ext uri="{FF2B5EF4-FFF2-40B4-BE49-F238E27FC236}">
                  <a16:creationId xmlns:a16="http://schemas.microsoft.com/office/drawing/2014/main" id="{7067DA71-3BC5-B129-56B7-E382FF2A8632}"/>
                </a:ext>
              </a:extLst>
            </p:cNvPr>
            <p:cNvCxnSpPr>
              <a:cxnSpLocks/>
              <a:endCxn id="60" idx="3"/>
            </p:cNvCxnSpPr>
            <p:nvPr/>
          </p:nvCxnSpPr>
          <p:spPr>
            <a:xfrm flipH="1">
              <a:off x="7178254" y="4452571"/>
              <a:ext cx="1179702" cy="3350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E3A062AE-0ECF-C086-A1A8-EF8188E6E6E2}"/>
                </a:ext>
              </a:extLst>
            </p:cNvPr>
            <p:cNvSpPr/>
            <p:nvPr/>
          </p:nvSpPr>
          <p:spPr>
            <a:xfrm>
              <a:off x="8357956" y="4323216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A0F2435-7670-6BA3-A605-E44AB04EC96E}"/>
              </a:ext>
            </a:extLst>
          </p:cNvPr>
          <p:cNvGrpSpPr/>
          <p:nvPr/>
        </p:nvGrpSpPr>
        <p:grpSpPr>
          <a:xfrm>
            <a:off x="4580958" y="1896141"/>
            <a:ext cx="3342044" cy="668991"/>
            <a:chOff x="6585931" y="3962255"/>
            <a:chExt cx="3342044" cy="668991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671F6ABB-E3FD-8142-FEB8-56E5A2264D94}"/>
                </a:ext>
              </a:extLst>
            </p:cNvPr>
            <p:cNvSpPr/>
            <p:nvPr/>
          </p:nvSpPr>
          <p:spPr>
            <a:xfrm>
              <a:off x="6585931" y="4414556"/>
              <a:ext cx="1826235" cy="21669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A7199278-2EBB-4BFA-BF81-C52BFFAD67CB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8412166" y="4105991"/>
              <a:ext cx="484791" cy="4169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D117BE65-F64F-8BB7-8018-8D3900ECADDE}"/>
                </a:ext>
              </a:extLst>
            </p:cNvPr>
            <p:cNvSpPr/>
            <p:nvPr/>
          </p:nvSpPr>
          <p:spPr>
            <a:xfrm>
              <a:off x="8896957" y="396225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B7F3B30-0501-5E34-131D-0F8FE2B79F2D}"/>
              </a:ext>
            </a:extLst>
          </p:cNvPr>
          <p:cNvGrpSpPr/>
          <p:nvPr/>
        </p:nvGrpSpPr>
        <p:grpSpPr>
          <a:xfrm>
            <a:off x="3956473" y="1797733"/>
            <a:ext cx="2568620" cy="997029"/>
            <a:chOff x="6597595" y="3757337"/>
            <a:chExt cx="2568620" cy="997029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8ED9FECD-2E19-127F-A9F9-2F3B161A8975}"/>
                </a:ext>
              </a:extLst>
            </p:cNvPr>
            <p:cNvSpPr/>
            <p:nvPr/>
          </p:nvSpPr>
          <p:spPr>
            <a:xfrm>
              <a:off x="6597595" y="4366209"/>
              <a:ext cx="431743" cy="38815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06EAB0AC-178A-A049-E84C-E82A7F672301}"/>
                </a:ext>
              </a:extLst>
            </p:cNvPr>
            <p:cNvCxnSpPr>
              <a:cxnSpLocks/>
              <a:stCxn id="12" idx="1"/>
              <a:endCxn id="6" idx="3"/>
            </p:cNvCxnSpPr>
            <p:nvPr/>
          </p:nvCxnSpPr>
          <p:spPr>
            <a:xfrm flipH="1">
              <a:off x="7029338" y="3901073"/>
              <a:ext cx="1105859" cy="6592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4C6E09A0-B5D5-42A3-62A2-E1B749E9A256}"/>
                </a:ext>
              </a:extLst>
            </p:cNvPr>
            <p:cNvSpPr/>
            <p:nvPr/>
          </p:nvSpPr>
          <p:spPr>
            <a:xfrm>
              <a:off x="8135197" y="3757337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CB81653-2117-4A47-80F1-AF33BCD3BC4F}"/>
              </a:ext>
            </a:extLst>
          </p:cNvPr>
          <p:cNvGrpSpPr/>
          <p:nvPr/>
        </p:nvGrpSpPr>
        <p:grpSpPr>
          <a:xfrm>
            <a:off x="7501271" y="3861122"/>
            <a:ext cx="4300585" cy="513687"/>
            <a:chOff x="4491250" y="4347557"/>
            <a:chExt cx="4300585" cy="513687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0C1AB209-B449-9622-2ADD-531AAF6645D3}"/>
                </a:ext>
              </a:extLst>
            </p:cNvPr>
            <p:cNvSpPr/>
            <p:nvPr/>
          </p:nvSpPr>
          <p:spPr>
            <a:xfrm>
              <a:off x="6585932" y="4347557"/>
              <a:ext cx="2205903" cy="398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B9C767D9-C0E4-96E4-2F13-C70ED78C4B59}"/>
                </a:ext>
              </a:extLst>
            </p:cNvPr>
            <p:cNvCxnSpPr>
              <a:cxnSpLocks/>
              <a:stCxn id="27" idx="3"/>
              <a:endCxn id="25" idx="1"/>
            </p:cNvCxnSpPr>
            <p:nvPr/>
          </p:nvCxnSpPr>
          <p:spPr>
            <a:xfrm flipV="1">
              <a:off x="5908806" y="4546974"/>
              <a:ext cx="677126" cy="1558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62A2A6A-8257-58AA-4D04-833188DBFED9}"/>
                </a:ext>
              </a:extLst>
            </p:cNvPr>
            <p:cNvSpPr/>
            <p:nvPr/>
          </p:nvSpPr>
          <p:spPr>
            <a:xfrm>
              <a:off x="4491250" y="4544323"/>
              <a:ext cx="1417556" cy="316921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31542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4961E-9372-6843-A76D-8860A6AF24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5253D-B3F2-FCB3-8D30-9B0024470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BOARD, TEMPLATE, US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4D8F8A-C53F-14B8-62F0-42A9553395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2835" y="1075996"/>
            <a:ext cx="9526329" cy="47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536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F2CBE-9CA2-07D0-ED79-D5C301CA9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0906045-0BA2-378E-4609-09AF93E41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2713"/>
            <a:ext cx="12192000" cy="613895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962FE58-A146-8B78-97A5-4CC2A4C0B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OLLECTION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7EAD48E-2CBD-FD67-4B3C-B396747020A9}"/>
              </a:ext>
            </a:extLst>
          </p:cNvPr>
          <p:cNvGrpSpPr/>
          <p:nvPr/>
        </p:nvGrpSpPr>
        <p:grpSpPr>
          <a:xfrm>
            <a:off x="747423" y="1946493"/>
            <a:ext cx="10607040" cy="3038038"/>
            <a:chOff x="1705676" y="5753885"/>
            <a:chExt cx="10607040" cy="3038038"/>
          </a:xfrm>
        </p:grpSpPr>
        <p:sp>
          <p:nvSpPr>
            <p:cNvPr id="8" name="Google Shape;229;g370fc456c4b_0_4">
              <a:extLst>
                <a:ext uri="{FF2B5EF4-FFF2-40B4-BE49-F238E27FC236}">
                  <a16:creationId xmlns:a16="http://schemas.microsoft.com/office/drawing/2014/main" id="{3FD7EE68-9C7F-27DC-F343-AEB82A923BD5}"/>
                </a:ext>
              </a:extLst>
            </p:cNvPr>
            <p:cNvSpPr/>
            <p:nvPr/>
          </p:nvSpPr>
          <p:spPr>
            <a:xfrm>
              <a:off x="3614524" y="6224588"/>
              <a:ext cx="8698192" cy="256733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" name="Google Shape;230;g370fc456c4b_0_4">
              <a:extLst>
                <a:ext uri="{FF2B5EF4-FFF2-40B4-BE49-F238E27FC236}">
                  <a16:creationId xmlns:a16="http://schemas.microsoft.com/office/drawing/2014/main" id="{A7F83307-B0F8-E861-9275-3B187D2F23A3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5906536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E325FD3-1454-5261-A2DD-B175FAD6935B}"/>
                </a:ext>
              </a:extLst>
            </p:cNvPr>
            <p:cNvSpPr/>
            <p:nvPr/>
          </p:nvSpPr>
          <p:spPr>
            <a:xfrm>
              <a:off x="1705676" y="5753885"/>
              <a:ext cx="1510747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Collection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9C4F140-2FF8-B6A4-BDD5-A5393A57BF34}"/>
              </a:ext>
            </a:extLst>
          </p:cNvPr>
          <p:cNvGrpSpPr/>
          <p:nvPr/>
        </p:nvGrpSpPr>
        <p:grpSpPr>
          <a:xfrm>
            <a:off x="4716798" y="4713586"/>
            <a:ext cx="1332052" cy="824792"/>
            <a:chOff x="6132149" y="4414556"/>
            <a:chExt cx="1332052" cy="82479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53A81EE6-434C-3952-46E0-2D4C0E8C1443}"/>
                </a:ext>
              </a:extLst>
            </p:cNvPr>
            <p:cNvSpPr/>
            <p:nvPr/>
          </p:nvSpPr>
          <p:spPr>
            <a:xfrm>
              <a:off x="6585932" y="4414556"/>
              <a:ext cx="424487" cy="1961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9C2C13F0-3869-7229-2EBD-3BA2D23FA215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798176" y="4610688"/>
              <a:ext cx="0" cy="3301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B9AB765-B6F2-8B43-B601-B63738501356}"/>
                </a:ext>
              </a:extLst>
            </p:cNvPr>
            <p:cNvSpPr/>
            <p:nvPr/>
          </p:nvSpPr>
          <p:spPr>
            <a:xfrm>
              <a:off x="6132149" y="4951876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lect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F613FC8-86AC-96F1-8636-38BD35B47E54}"/>
              </a:ext>
            </a:extLst>
          </p:cNvPr>
          <p:cNvGrpSpPr/>
          <p:nvPr/>
        </p:nvGrpSpPr>
        <p:grpSpPr>
          <a:xfrm>
            <a:off x="4885659" y="3673907"/>
            <a:ext cx="3873449" cy="730213"/>
            <a:chOff x="6585932" y="4319241"/>
            <a:chExt cx="3873449" cy="730213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29936E49-3FEB-11AE-A77B-B3FB9AA72959}"/>
                </a:ext>
              </a:extLst>
            </p:cNvPr>
            <p:cNvSpPr/>
            <p:nvPr/>
          </p:nvSpPr>
          <p:spPr>
            <a:xfrm>
              <a:off x="6585932" y="4414556"/>
              <a:ext cx="2063782" cy="63489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0680232C-A2ED-7287-108F-2FBC3549252D}"/>
                </a:ext>
              </a:extLst>
            </p:cNvPr>
            <p:cNvCxnSpPr>
              <a:cxnSpLocks/>
              <a:stCxn id="25" idx="1"/>
              <a:endCxn id="23" idx="3"/>
            </p:cNvCxnSpPr>
            <p:nvPr/>
          </p:nvCxnSpPr>
          <p:spPr>
            <a:xfrm flipH="1">
              <a:off x="8649714" y="4462977"/>
              <a:ext cx="477615" cy="26902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BAFB444-A1D9-327F-0EE2-19C2494DE707}"/>
                </a:ext>
              </a:extLst>
            </p:cNvPr>
            <p:cNvSpPr/>
            <p:nvPr/>
          </p:nvSpPr>
          <p:spPr>
            <a:xfrm>
              <a:off x="9127329" y="4319241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5DCC8BB-BB50-8D09-44B9-7B450BA33B53}"/>
              </a:ext>
            </a:extLst>
          </p:cNvPr>
          <p:cNvGrpSpPr/>
          <p:nvPr/>
        </p:nvGrpSpPr>
        <p:grpSpPr>
          <a:xfrm>
            <a:off x="4885659" y="4344600"/>
            <a:ext cx="3526822" cy="287472"/>
            <a:chOff x="6585932" y="4319241"/>
            <a:chExt cx="3526822" cy="287472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5D4D470F-0FC4-37F7-7F26-968510965CA7}"/>
                </a:ext>
              </a:extLst>
            </p:cNvPr>
            <p:cNvSpPr/>
            <p:nvPr/>
          </p:nvSpPr>
          <p:spPr>
            <a:xfrm>
              <a:off x="6585932" y="4414556"/>
              <a:ext cx="563635" cy="13219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E34471D8-DEAE-87DF-1C2F-DA164E8AC24B}"/>
                </a:ext>
              </a:extLst>
            </p:cNvPr>
            <p:cNvCxnSpPr>
              <a:cxnSpLocks/>
              <a:stCxn id="32" idx="1"/>
              <a:endCxn id="30" idx="3"/>
            </p:cNvCxnSpPr>
            <p:nvPr/>
          </p:nvCxnSpPr>
          <p:spPr>
            <a:xfrm flipH="1">
              <a:off x="7149567" y="4462977"/>
              <a:ext cx="1977762" cy="1767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CDD88AA4-77FF-F42D-46B2-0095963D57CA}"/>
                </a:ext>
              </a:extLst>
            </p:cNvPr>
            <p:cNvSpPr/>
            <p:nvPr/>
          </p:nvSpPr>
          <p:spPr>
            <a:xfrm>
              <a:off x="9127329" y="4319241"/>
              <a:ext cx="98542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23781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C9644B-FBAE-9882-719F-90E2A604A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0211A4-901A-C525-0ED8-DF5CAD60D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BOARD, COLLECTION RELATIONSHIP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6C3304-F75C-2865-4E0B-04D892DA68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853" y="1580626"/>
            <a:ext cx="9947410" cy="254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75628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9F8634-D209-60C0-ED46-284A1333AD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03DE6E1-F786-6DE4-53C8-F8F1301C724E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5AB4B6-4B9E-88C9-23CF-38819D3A6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TICK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EF2D9E-FD5A-52BE-6BF7-76E1B82AC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1032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5B4E031-C107-117B-36CA-FDB797ED094C}"/>
              </a:ext>
            </a:extLst>
          </p:cNvPr>
          <p:cNvGrpSpPr/>
          <p:nvPr/>
        </p:nvGrpSpPr>
        <p:grpSpPr>
          <a:xfrm>
            <a:off x="7660758" y="1337912"/>
            <a:ext cx="4418947" cy="5520088"/>
            <a:chOff x="2006455" y="6127081"/>
            <a:chExt cx="4418947" cy="5520088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98177CDF-162F-A6BB-C832-5A6C5194CD0C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32F44D91-054E-C0DD-42A7-8CEEC92579C0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848BC974-7CF4-B523-AD37-04F486E32277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</a:t>
              </a:r>
              <a:endParaRPr lang="en-US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F62FE1-62A0-0E7B-8443-3145BB775B4A}"/>
              </a:ext>
            </a:extLst>
          </p:cNvPr>
          <p:cNvGrpSpPr/>
          <p:nvPr/>
        </p:nvGrpSpPr>
        <p:grpSpPr>
          <a:xfrm>
            <a:off x="8101440" y="3959751"/>
            <a:ext cx="1979559" cy="616722"/>
            <a:chOff x="10079459" y="5149784"/>
            <a:chExt cx="1979559" cy="616722"/>
          </a:xfrm>
        </p:grpSpPr>
        <p:sp>
          <p:nvSpPr>
            <p:cNvPr id="12" name="Google Shape;229;g370fc456c4b_0_4">
              <a:extLst>
                <a:ext uri="{FF2B5EF4-FFF2-40B4-BE49-F238E27FC236}">
                  <a16:creationId xmlns:a16="http://schemas.microsoft.com/office/drawing/2014/main" id="{73B57FAB-D344-6012-FA19-5C0C6F5A0D2B}"/>
                </a:ext>
              </a:extLst>
            </p:cNvPr>
            <p:cNvSpPr/>
            <p:nvPr/>
          </p:nvSpPr>
          <p:spPr>
            <a:xfrm>
              <a:off x="11519584" y="5149784"/>
              <a:ext cx="539434" cy="61672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" name="Google Shape;230;g370fc456c4b_0_4">
              <a:extLst>
                <a:ext uri="{FF2B5EF4-FFF2-40B4-BE49-F238E27FC236}">
                  <a16:creationId xmlns:a16="http://schemas.microsoft.com/office/drawing/2014/main" id="{A75480F0-BC64-A420-B54F-5928DD147E9B}"/>
                </a:ext>
              </a:extLst>
            </p:cNvPr>
            <p:cNvCxnSpPr>
              <a:cxnSpLocks/>
              <a:stCxn id="14" idx="3"/>
              <a:endCxn id="12" idx="1"/>
            </p:cNvCxnSpPr>
            <p:nvPr/>
          </p:nvCxnSpPr>
          <p:spPr>
            <a:xfrm>
              <a:off x="11110477" y="5458145"/>
              <a:ext cx="40910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921C51F-B121-A6C0-26F7-E597F544902C}"/>
                </a:ext>
              </a:extLst>
            </p:cNvPr>
            <p:cNvSpPr/>
            <p:nvPr/>
          </p:nvSpPr>
          <p:spPr>
            <a:xfrm>
              <a:off x="10079459" y="5314409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AF366A3-930A-A991-449B-59826EF2A607}"/>
              </a:ext>
            </a:extLst>
          </p:cNvPr>
          <p:cNvGrpSpPr/>
          <p:nvPr/>
        </p:nvGrpSpPr>
        <p:grpSpPr>
          <a:xfrm>
            <a:off x="8006316" y="3621300"/>
            <a:ext cx="2145682" cy="278148"/>
            <a:chOff x="10070474" y="5488351"/>
            <a:chExt cx="2145682" cy="278148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41A6C75-A2F0-E823-4CE6-B5B49E68925E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9674F2-A809-51F3-FA23-C9C3A5EC4EDA}"/>
                </a:ext>
              </a:extLst>
            </p:cNvPr>
            <p:cNvCxnSpPr>
              <a:cxnSpLocks/>
              <a:stCxn id="23" idx="3"/>
              <a:endCxn id="21" idx="1"/>
            </p:cNvCxnSpPr>
            <p:nvPr/>
          </p:nvCxnSpPr>
          <p:spPr>
            <a:xfrm>
              <a:off x="11196616" y="5627425"/>
              <a:ext cx="322967" cy="440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5094F304-9A5F-F84C-87E5-CC082D0A3391}"/>
                </a:ext>
              </a:extLst>
            </p:cNvPr>
            <p:cNvSpPr/>
            <p:nvPr/>
          </p:nvSpPr>
          <p:spPr>
            <a:xfrm>
              <a:off x="10070474" y="548835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63A8A36-BB34-9D2D-EFAA-4EF9F0C819D1}"/>
              </a:ext>
            </a:extLst>
          </p:cNvPr>
          <p:cNvGrpSpPr/>
          <p:nvPr/>
        </p:nvGrpSpPr>
        <p:grpSpPr>
          <a:xfrm>
            <a:off x="813291" y="2115779"/>
            <a:ext cx="3280243" cy="1351155"/>
            <a:chOff x="3451773" y="5584971"/>
            <a:chExt cx="3280243" cy="1351155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D9B4B9E3-DA40-DFA4-4258-765A23674AD7}"/>
                </a:ext>
              </a:extLst>
            </p:cNvPr>
            <p:cNvSpPr/>
            <p:nvPr/>
          </p:nvSpPr>
          <p:spPr>
            <a:xfrm>
              <a:off x="3614523" y="6127081"/>
              <a:ext cx="3117493" cy="809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1AF195F-9D0E-6024-86A6-BCD365F28078}"/>
                </a:ext>
              </a:extLst>
            </p:cNvPr>
            <p:cNvCxnSpPr>
              <a:cxnSpLocks/>
              <a:endCxn id="15" idx="0"/>
            </p:cNvCxnSpPr>
            <p:nvPr/>
          </p:nvCxnSpPr>
          <p:spPr>
            <a:xfrm>
              <a:off x="4661741" y="5737622"/>
              <a:ext cx="511529" cy="3894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FEE39870-9854-58F6-892C-D7A8FFDDB548}"/>
                </a:ext>
              </a:extLst>
            </p:cNvPr>
            <p:cNvSpPr/>
            <p:nvPr/>
          </p:nvSpPr>
          <p:spPr>
            <a:xfrm>
              <a:off x="3451773" y="5584971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icker</a:t>
              </a:r>
              <a:endParaRPr lang="en-US" dirty="0"/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6F42138C-441C-CBF9-4AF3-39EF00436A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5775" y="2843139"/>
            <a:ext cx="433813" cy="401277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DDE338D8-9A98-5255-8F09-D8BF0D3B4B1F}"/>
              </a:ext>
            </a:extLst>
          </p:cNvPr>
          <p:cNvGrpSpPr/>
          <p:nvPr/>
        </p:nvGrpSpPr>
        <p:grpSpPr>
          <a:xfrm>
            <a:off x="7501270" y="3076087"/>
            <a:ext cx="2806996" cy="883664"/>
            <a:chOff x="2309173" y="7625344"/>
            <a:chExt cx="2806996" cy="883664"/>
          </a:xfrm>
        </p:grpSpPr>
        <p:sp>
          <p:nvSpPr>
            <p:cNvPr id="32" name="Google Shape;229;g370fc456c4b_0_4">
              <a:extLst>
                <a:ext uri="{FF2B5EF4-FFF2-40B4-BE49-F238E27FC236}">
                  <a16:creationId xmlns:a16="http://schemas.microsoft.com/office/drawing/2014/main" id="{A06307D2-8695-C9DC-370B-ECE9F76A1100}"/>
                </a:ext>
              </a:extLst>
            </p:cNvPr>
            <p:cNvSpPr/>
            <p:nvPr/>
          </p:nvSpPr>
          <p:spPr>
            <a:xfrm>
              <a:off x="4212401" y="8170558"/>
              <a:ext cx="903768" cy="3384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3" name="Google Shape;230;g370fc456c4b_0_4">
              <a:extLst>
                <a:ext uri="{FF2B5EF4-FFF2-40B4-BE49-F238E27FC236}">
                  <a16:creationId xmlns:a16="http://schemas.microsoft.com/office/drawing/2014/main" id="{02E56800-24BA-81DD-2E55-52971B11EE28}"/>
                </a:ext>
              </a:extLst>
            </p:cNvPr>
            <p:cNvCxnSpPr>
              <a:cxnSpLocks/>
            </p:cNvCxnSpPr>
            <p:nvPr/>
          </p:nvCxnSpPr>
          <p:spPr>
            <a:xfrm>
              <a:off x="3809495" y="777799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A6E4D914-1CA4-2A8F-FD3C-23AEC8DFC1A3}"/>
                </a:ext>
              </a:extLst>
            </p:cNvPr>
            <p:cNvSpPr/>
            <p:nvPr/>
          </p:nvSpPr>
          <p:spPr>
            <a:xfrm>
              <a:off x="2309173" y="7625344"/>
              <a:ext cx="1500322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Categor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8632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3B237B-3169-A4B6-4145-BAC010C909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F105B2-4325-12AC-8F97-C825A165B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CARD AND STICK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1BEB5F-B01F-CF1E-BE29-39C137CAE6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008" y="1098000"/>
            <a:ext cx="9643052" cy="437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3634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A87C36-FDCB-6087-FA3C-91BB57D970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3893A7F4-A597-A845-3978-9CE1714C9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5327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BECD800-F423-732D-1765-8193922CA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TIFICATION SCREEN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A4AB60E-CB27-5ECD-366B-81EDE7008B75}"/>
              </a:ext>
            </a:extLst>
          </p:cNvPr>
          <p:cNvGrpSpPr/>
          <p:nvPr/>
        </p:nvGrpSpPr>
        <p:grpSpPr>
          <a:xfrm>
            <a:off x="7211870" y="1341544"/>
            <a:ext cx="4418947" cy="5520088"/>
            <a:chOff x="2006455" y="6127081"/>
            <a:chExt cx="4418947" cy="5520088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0C3D764C-ED08-CCFC-3285-5E254BAA1557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B8545C1A-7D0D-3AB9-2C58-C7B109F5D924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2C32E31-2BFC-0D8A-9C70-CDC196FBA279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DEADCF2-0D79-A325-C8F6-8764653D779F}"/>
              </a:ext>
            </a:extLst>
          </p:cNvPr>
          <p:cNvGrpSpPr/>
          <p:nvPr/>
        </p:nvGrpSpPr>
        <p:grpSpPr>
          <a:xfrm>
            <a:off x="7048200" y="3218856"/>
            <a:ext cx="4424330" cy="375758"/>
            <a:chOff x="9744289" y="5390741"/>
            <a:chExt cx="4424330" cy="375758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9088DA1B-A621-36BF-F103-7F14325A554A}"/>
                </a:ext>
              </a:extLst>
            </p:cNvPr>
            <p:cNvSpPr/>
            <p:nvPr/>
          </p:nvSpPr>
          <p:spPr>
            <a:xfrm flipV="1">
              <a:off x="13716597" y="5390741"/>
              <a:ext cx="452022" cy="1574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6F57A359-BF21-A473-6958-CE1D2F617637}"/>
                </a:ext>
              </a:extLst>
            </p:cNvPr>
            <p:cNvCxnSpPr>
              <a:cxnSpLocks/>
              <a:stCxn id="12" idx="3"/>
              <a:endCxn id="10" idx="1"/>
            </p:cNvCxnSpPr>
            <p:nvPr/>
          </p:nvCxnSpPr>
          <p:spPr>
            <a:xfrm flipV="1">
              <a:off x="11196616" y="5469447"/>
              <a:ext cx="2519981" cy="15797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45F1F19-8377-A1AF-32FA-C7AD470B1C08}"/>
                </a:ext>
              </a:extLst>
            </p:cNvPr>
            <p:cNvSpPr/>
            <p:nvPr/>
          </p:nvSpPr>
          <p:spPr>
            <a:xfrm>
              <a:off x="9744289" y="5488351"/>
              <a:ext cx="1452327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EDDB95D-5C31-BE5E-832C-6BB6AA613281}"/>
              </a:ext>
            </a:extLst>
          </p:cNvPr>
          <p:cNvSpPr/>
          <p:nvPr/>
        </p:nvSpPr>
        <p:spPr>
          <a:xfrm>
            <a:off x="5654578" y="3810963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7432DD3-087A-2145-BF83-30C1ECF02442}"/>
              </a:ext>
            </a:extLst>
          </p:cNvPr>
          <p:cNvGrpSpPr/>
          <p:nvPr/>
        </p:nvGrpSpPr>
        <p:grpSpPr>
          <a:xfrm>
            <a:off x="7190331" y="1693628"/>
            <a:ext cx="4282199" cy="5033175"/>
            <a:chOff x="1868552" y="6326063"/>
            <a:chExt cx="4282199" cy="5033175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B84B6629-17AD-CDCE-3801-E7188F56009C}"/>
                </a:ext>
              </a:extLst>
            </p:cNvPr>
            <p:cNvSpPr/>
            <p:nvPr/>
          </p:nvSpPr>
          <p:spPr>
            <a:xfrm>
              <a:off x="3614524" y="6326063"/>
              <a:ext cx="2536227" cy="503317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9A33CFA3-FC32-2153-ED17-1EEAB15EBDBB}"/>
                </a:ext>
              </a:extLst>
            </p:cNvPr>
            <p:cNvCxnSpPr>
              <a:cxnSpLocks/>
            </p:cNvCxnSpPr>
            <p:nvPr/>
          </p:nvCxnSpPr>
          <p:spPr>
            <a:xfrm>
              <a:off x="3078520" y="7456276"/>
              <a:ext cx="536004" cy="3465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11A19DDC-B090-EBA2-B8F4-7F36D778D163}"/>
                </a:ext>
              </a:extLst>
            </p:cNvPr>
            <p:cNvSpPr/>
            <p:nvPr/>
          </p:nvSpPr>
          <p:spPr>
            <a:xfrm>
              <a:off x="1868552" y="7303729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10DDA70-8E36-A882-6835-E7AC0583A114}"/>
              </a:ext>
            </a:extLst>
          </p:cNvPr>
          <p:cNvSpPr/>
          <p:nvPr/>
        </p:nvSpPr>
        <p:spPr>
          <a:xfrm>
            <a:off x="5654579" y="3376268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7EDBCCB-247C-2C6A-9D8D-62549A533442}"/>
              </a:ext>
            </a:extLst>
          </p:cNvPr>
          <p:cNvSpPr/>
          <p:nvPr/>
        </p:nvSpPr>
        <p:spPr>
          <a:xfrm>
            <a:off x="6980907" y="4692614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051DFB5-F295-9F72-8E2B-6049634D4445}"/>
              </a:ext>
            </a:extLst>
          </p:cNvPr>
          <p:cNvSpPr/>
          <p:nvPr/>
        </p:nvSpPr>
        <p:spPr>
          <a:xfrm>
            <a:off x="5654577" y="4245658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6074EE5C-A34E-7161-6FA0-D12124CA9E89}"/>
              </a:ext>
            </a:extLst>
          </p:cNvPr>
          <p:cNvSpPr/>
          <p:nvPr/>
        </p:nvSpPr>
        <p:spPr>
          <a:xfrm>
            <a:off x="5654576" y="4663399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6CD10AE-E13F-E65D-BEDA-D43E0E8B65EE}"/>
              </a:ext>
            </a:extLst>
          </p:cNvPr>
          <p:cNvSpPr/>
          <p:nvPr/>
        </p:nvSpPr>
        <p:spPr>
          <a:xfrm>
            <a:off x="5654576" y="5098094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ard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71B685C-4242-2CB7-613B-1EA92D2DCF24}"/>
              </a:ext>
            </a:extLst>
          </p:cNvPr>
          <p:cNvGrpSpPr/>
          <p:nvPr/>
        </p:nvGrpSpPr>
        <p:grpSpPr>
          <a:xfrm>
            <a:off x="9904775" y="1403982"/>
            <a:ext cx="2145682" cy="278148"/>
            <a:chOff x="10070474" y="5488351"/>
            <a:chExt cx="2145682" cy="278148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8305FA29-736A-CE54-ED0A-EF1B8283B886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437C4CB-A322-5B83-DCCF-EA1394DC3FB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11196616" y="5627425"/>
              <a:ext cx="322967" cy="440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EE83A6D-242B-45DE-05B0-2B28F7F11CAF}"/>
                </a:ext>
              </a:extLst>
            </p:cNvPr>
            <p:cNvSpPr/>
            <p:nvPr/>
          </p:nvSpPr>
          <p:spPr>
            <a:xfrm>
              <a:off x="10070474" y="548835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Read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E2B77BD-6A0C-D646-CBA5-319A3BE03B1D}"/>
              </a:ext>
            </a:extLst>
          </p:cNvPr>
          <p:cNvGrpSpPr/>
          <p:nvPr/>
        </p:nvGrpSpPr>
        <p:grpSpPr>
          <a:xfrm>
            <a:off x="7379265" y="3186245"/>
            <a:ext cx="4093265" cy="897773"/>
            <a:chOff x="9690646" y="5576476"/>
            <a:chExt cx="4093265" cy="8977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23A2E3FA-0CF7-2ECE-F335-077E4491506F}"/>
                </a:ext>
              </a:extLst>
            </p:cNvPr>
            <p:cNvSpPr/>
            <p:nvPr/>
          </p:nvSpPr>
          <p:spPr>
            <a:xfrm>
              <a:off x="11519583" y="5576476"/>
              <a:ext cx="2264328" cy="33707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54B929E-0DF6-004E-0C7F-C78CC4A63E74}"/>
                </a:ext>
              </a:extLst>
            </p:cNvPr>
            <p:cNvCxnSpPr>
              <a:cxnSpLocks/>
              <a:stCxn id="45" idx="3"/>
              <a:endCxn id="43" idx="1"/>
            </p:cNvCxnSpPr>
            <p:nvPr/>
          </p:nvCxnSpPr>
          <p:spPr>
            <a:xfrm flipV="1">
              <a:off x="10816788" y="5745012"/>
              <a:ext cx="702795" cy="5901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2816267-9579-404F-F538-3FB58A433C6D}"/>
                </a:ext>
              </a:extLst>
            </p:cNvPr>
            <p:cNvSpPr/>
            <p:nvPr/>
          </p:nvSpPr>
          <p:spPr>
            <a:xfrm>
              <a:off x="9690646" y="619610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27063DF-E002-9C4E-72DF-E624D34054E7}"/>
              </a:ext>
            </a:extLst>
          </p:cNvPr>
          <p:cNvGrpSpPr/>
          <p:nvPr/>
        </p:nvGrpSpPr>
        <p:grpSpPr>
          <a:xfrm>
            <a:off x="9456531" y="3390279"/>
            <a:ext cx="1126142" cy="994453"/>
            <a:chOff x="11196616" y="5576476"/>
            <a:chExt cx="1126142" cy="994453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E9AC2567-08A3-C591-4D30-60D5746065A3}"/>
                </a:ext>
              </a:extLst>
            </p:cNvPr>
            <p:cNvSpPr/>
            <p:nvPr/>
          </p:nvSpPr>
          <p:spPr>
            <a:xfrm>
              <a:off x="11519583" y="5576476"/>
              <a:ext cx="803175" cy="14396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3F0B3A0D-1392-3A47-8BA5-F188AECF22E7}"/>
                </a:ext>
              </a:extLst>
            </p:cNvPr>
            <p:cNvCxnSpPr>
              <a:cxnSpLocks/>
              <a:stCxn id="53" idx="0"/>
              <a:endCxn id="51" idx="2"/>
            </p:cNvCxnSpPr>
            <p:nvPr/>
          </p:nvCxnSpPr>
          <p:spPr>
            <a:xfrm flipV="1">
              <a:off x="11759687" y="5720443"/>
              <a:ext cx="161484" cy="57233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7EEE797-5028-FC5B-0911-EFEFE8800ACA}"/>
                </a:ext>
              </a:extLst>
            </p:cNvPr>
            <p:cNvSpPr/>
            <p:nvPr/>
          </p:nvSpPr>
          <p:spPr>
            <a:xfrm>
              <a:off x="11196616" y="629278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4016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01D82-3A9F-D26D-CEF5-3E39F32EF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15B809-A0A3-F4A4-F22A-CA9A4DA20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NOTIFICATION, ACTIVITY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02595C-9180-A051-CC65-D5559AC09D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8" y="1162008"/>
            <a:ext cx="10211618" cy="4189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19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 UI Screens in the Trello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Entities and Relationship in Trello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What is Trello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vi-VN" dirty="0">
                <a:solidFill>
                  <a:srgbClr val="C00000"/>
                </a:solidFill>
              </a:rPr>
              <a:t>INTRODUCTION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workspac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hecklists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Set due dates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C00000"/>
                </a:solidFill>
              </a:rPr>
              <a:t>Key Functionalities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5161" y="1271551"/>
            <a:ext cx="7004039" cy="4314897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B23B3847-D2DC-32A6-5F97-217BB02A55AC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auto">
          <a:xfrm>
            <a:off x="518160" y="1271551"/>
            <a:ext cx="4547616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and manage Workspaces for different project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Boards to organize task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Cards with due dates, custom field, label, checklists, and attachment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</a:t>
            </a:r>
            <a:r>
              <a:rPr lang="en-US" altLang="en-US" b="0" dirty="0">
                <a:latin typeface="Arial" panose="020B0604020202020204" pitchFamily="34" charset="0"/>
              </a:rPr>
              <a:t>ssign Member to Workspace, Board, Card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mment and Activity on Card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se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eamplates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for setup project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llaborate and manage Members &amp; Permission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4C1FDCA-0408-FE02-76E2-E83D95A10E7C}"/>
              </a:ext>
            </a:extLst>
          </p:cNvPr>
          <p:cNvGrpSpPr/>
          <p:nvPr/>
        </p:nvGrpSpPr>
        <p:grpSpPr>
          <a:xfrm>
            <a:off x="0" y="1098000"/>
            <a:ext cx="12192000" cy="6023192"/>
            <a:chOff x="0" y="1098000"/>
            <a:chExt cx="12192000" cy="602319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6C0D8BF-5625-2F6F-24CC-F8475F6FDE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602319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0AF6052-1647-15D8-AAA2-26C03B2E4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75035" y="4278853"/>
              <a:ext cx="686522" cy="169901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S TAB SCREEN</a:t>
            </a:r>
            <a:endParaRPr lang="en-US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7E15DCA-0CA2-9E15-0370-09389E90FE75}"/>
              </a:ext>
            </a:extLst>
          </p:cNvPr>
          <p:cNvGrpSpPr/>
          <p:nvPr/>
        </p:nvGrpSpPr>
        <p:grpSpPr>
          <a:xfrm>
            <a:off x="8853470" y="2917148"/>
            <a:ext cx="2647319" cy="1652472"/>
            <a:chOff x="5434434" y="1390266"/>
            <a:chExt cx="2647319" cy="1652472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6F82F4D1-5D21-5A69-29D7-0E253ED16537}"/>
                </a:ext>
              </a:extLst>
            </p:cNvPr>
            <p:cNvSpPr/>
            <p:nvPr/>
          </p:nvSpPr>
          <p:spPr>
            <a:xfrm>
              <a:off x="5434434" y="2034127"/>
              <a:ext cx="1704659" cy="100861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11DF7370-F5AF-E01F-56CD-5D206F152197}"/>
                </a:ext>
              </a:extLst>
            </p:cNvPr>
            <p:cNvCxnSpPr>
              <a:cxnSpLocks/>
              <a:stCxn id="18" idx="1"/>
              <a:endCxn id="16" idx="0"/>
            </p:cNvCxnSpPr>
            <p:nvPr/>
          </p:nvCxnSpPr>
          <p:spPr>
            <a:xfrm flipH="1">
              <a:off x="6286764" y="1534002"/>
              <a:ext cx="1105172" cy="50012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3F79E29-1DAF-7A97-CF15-92A4FE7CF064}"/>
                </a:ext>
              </a:extLst>
            </p:cNvPr>
            <p:cNvSpPr/>
            <p:nvPr/>
          </p:nvSpPr>
          <p:spPr>
            <a:xfrm>
              <a:off x="7391936" y="139026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34C31F-AEAF-7FA7-4E54-9B299920548D}"/>
              </a:ext>
            </a:extLst>
          </p:cNvPr>
          <p:cNvGrpSpPr/>
          <p:nvPr/>
        </p:nvGrpSpPr>
        <p:grpSpPr>
          <a:xfrm>
            <a:off x="3901494" y="1579880"/>
            <a:ext cx="3298924" cy="449784"/>
            <a:chOff x="3929937" y="1579541"/>
            <a:chExt cx="3298924" cy="44978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33CB2B2C-814D-C4A8-D84C-63956A38B7A6}"/>
                </a:ext>
              </a:extLst>
            </p:cNvPr>
            <p:cNvSpPr/>
            <p:nvPr/>
          </p:nvSpPr>
          <p:spPr>
            <a:xfrm>
              <a:off x="3929937" y="1737725"/>
              <a:ext cx="1233669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13910268-8335-E32F-5FB1-EF86EDA93EA0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5163606" y="1737725"/>
              <a:ext cx="345276" cy="14580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7DD2352-9678-CD17-BB4A-9BA54A9199CF}"/>
                </a:ext>
              </a:extLst>
            </p:cNvPr>
            <p:cNvSpPr/>
            <p:nvPr/>
          </p:nvSpPr>
          <p:spPr>
            <a:xfrm>
              <a:off x="5520092" y="1579541"/>
              <a:ext cx="170876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StarredBoard</a:t>
              </a:r>
              <a:endParaRPr lang="en-US" dirty="0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C26599C-DD54-4E80-6B79-A41BBBAA7F9C}"/>
              </a:ext>
            </a:extLst>
          </p:cNvPr>
          <p:cNvSpPr/>
          <p:nvPr/>
        </p:nvSpPr>
        <p:spPr>
          <a:xfrm>
            <a:off x="5506930" y="3255707"/>
            <a:ext cx="16120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y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089131-88DF-FD29-BF67-AB410ED6A2E9}"/>
              </a:ext>
            </a:extLst>
          </p:cNvPr>
          <p:cNvGrpSpPr/>
          <p:nvPr/>
        </p:nvGrpSpPr>
        <p:grpSpPr>
          <a:xfrm>
            <a:off x="6252641" y="3994468"/>
            <a:ext cx="1143000" cy="917450"/>
            <a:chOff x="6167482" y="3994468"/>
            <a:chExt cx="1143000" cy="917450"/>
          </a:xfrm>
        </p:grpSpPr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18AE19AC-DF93-9C6C-6403-D605815EE76C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02D7C03D-C185-D25C-04FD-D368EFD7D87E}"/>
                </a:ext>
              </a:extLst>
            </p:cNvPr>
            <p:cNvCxnSpPr>
              <a:cxnSpLocks/>
              <a:endCxn id="29" idx="2"/>
            </p:cNvCxnSpPr>
            <p:nvPr/>
          </p:nvCxnSpPr>
          <p:spPr>
            <a:xfrm flipV="1">
              <a:off x="6738982" y="4175360"/>
              <a:ext cx="1" cy="43345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6324680-2009-F7E3-879A-C925DDE3115C}"/>
                </a:ext>
              </a:extLst>
            </p:cNvPr>
            <p:cNvSpPr/>
            <p:nvPr/>
          </p:nvSpPr>
          <p:spPr>
            <a:xfrm>
              <a:off x="6167482" y="4624446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35" name="Google Shape;229;g370fc456c4b_0_4">
            <a:extLst>
              <a:ext uri="{FF2B5EF4-FFF2-40B4-BE49-F238E27FC236}">
                <a16:creationId xmlns:a16="http://schemas.microsoft.com/office/drawing/2014/main" id="{668788FF-BA6B-0C8E-9361-D5F73DD0DA54}"/>
              </a:ext>
            </a:extLst>
          </p:cNvPr>
          <p:cNvSpPr/>
          <p:nvPr/>
        </p:nvSpPr>
        <p:spPr>
          <a:xfrm>
            <a:off x="3933107" y="3272538"/>
            <a:ext cx="1262947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6" name="Google Shape;230;g370fc456c4b_0_4">
            <a:extLst>
              <a:ext uri="{FF2B5EF4-FFF2-40B4-BE49-F238E27FC236}">
                <a16:creationId xmlns:a16="http://schemas.microsoft.com/office/drawing/2014/main" id="{9538C291-E20D-A267-7576-1BCE2F952EB4}"/>
              </a:ext>
            </a:extLst>
          </p:cNvPr>
          <p:cNvCxnSpPr>
            <a:cxnSpLocks/>
            <a:endCxn id="35" idx="3"/>
          </p:cNvCxnSpPr>
          <p:nvPr/>
        </p:nvCxnSpPr>
        <p:spPr>
          <a:xfrm flipH="1">
            <a:off x="5196054" y="3418338"/>
            <a:ext cx="296604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191A6AB-B388-15A5-154B-894FA8C84E9E}"/>
              </a:ext>
            </a:extLst>
          </p:cNvPr>
          <p:cNvGrpSpPr/>
          <p:nvPr/>
        </p:nvGrpSpPr>
        <p:grpSpPr>
          <a:xfrm>
            <a:off x="8930690" y="4246051"/>
            <a:ext cx="2843378" cy="287472"/>
            <a:chOff x="6436472" y="3945088"/>
            <a:chExt cx="2843378" cy="287472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90CD6F8F-91C7-5E65-458A-E990A0C56793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919AD1CC-4D78-EE6B-533B-37ADA23ED8BC}"/>
                </a:ext>
              </a:extLst>
            </p:cNvPr>
            <p:cNvCxnSpPr>
              <a:cxnSpLocks/>
              <a:endCxn id="56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DCFC41F2-CBA7-6B41-EAF1-C2929612F753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3A199B9-0CB3-50C5-8BEE-8B16F5AE835E}"/>
              </a:ext>
            </a:extLst>
          </p:cNvPr>
          <p:cNvGrpSpPr/>
          <p:nvPr/>
        </p:nvGrpSpPr>
        <p:grpSpPr>
          <a:xfrm>
            <a:off x="8930690" y="3637867"/>
            <a:ext cx="3173756" cy="602217"/>
            <a:chOff x="6480817" y="3994467"/>
            <a:chExt cx="3173756" cy="602217"/>
          </a:xfrm>
        </p:grpSpPr>
        <p:sp>
          <p:nvSpPr>
            <p:cNvPr id="63" name="Google Shape;229;g370fc456c4b_0_4">
              <a:extLst>
                <a:ext uri="{FF2B5EF4-FFF2-40B4-BE49-F238E27FC236}">
                  <a16:creationId xmlns:a16="http://schemas.microsoft.com/office/drawing/2014/main" id="{743FEE87-9D9F-6C86-362D-C24AC3EDA6E0}"/>
                </a:ext>
              </a:extLst>
            </p:cNvPr>
            <p:cNvSpPr/>
            <p:nvPr/>
          </p:nvSpPr>
          <p:spPr>
            <a:xfrm>
              <a:off x="6480817" y="3994467"/>
              <a:ext cx="1530949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7845ADD7-A7AF-1D48-A56D-38A883A23ACE}"/>
                </a:ext>
              </a:extLst>
            </p:cNvPr>
            <p:cNvCxnSpPr>
              <a:cxnSpLocks/>
              <a:endCxn id="63" idx="3"/>
            </p:cNvCxnSpPr>
            <p:nvPr/>
          </p:nvCxnSpPr>
          <p:spPr>
            <a:xfrm flipH="1">
              <a:off x="8011766" y="4295576"/>
              <a:ext cx="26177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42C1EA2-3B0B-90D4-D6B6-3E824A0A1D52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9A7CD06-CC47-0EC7-42A2-368E8B6B37B7}"/>
              </a:ext>
            </a:extLst>
          </p:cNvPr>
          <p:cNvGrpSpPr/>
          <p:nvPr/>
        </p:nvGrpSpPr>
        <p:grpSpPr>
          <a:xfrm>
            <a:off x="7972383" y="4720917"/>
            <a:ext cx="1915959" cy="822569"/>
            <a:chOff x="3929938" y="1206756"/>
            <a:chExt cx="1915959" cy="822569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2DAFB084-37AE-637F-3587-CC29FFFE2C00}"/>
                </a:ext>
              </a:extLst>
            </p:cNvPr>
            <p:cNvSpPr/>
            <p:nvPr/>
          </p:nvSpPr>
          <p:spPr>
            <a:xfrm>
              <a:off x="3929938" y="1737725"/>
              <a:ext cx="873444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24C84D1E-7389-DA83-B59E-9A25E048F415}"/>
                </a:ext>
              </a:extLst>
            </p:cNvPr>
            <p:cNvCxnSpPr>
              <a:cxnSpLocks/>
              <a:endCxn id="72" idx="3"/>
            </p:cNvCxnSpPr>
            <p:nvPr/>
          </p:nvCxnSpPr>
          <p:spPr>
            <a:xfrm flipH="1">
              <a:off x="4803382" y="1536304"/>
              <a:ext cx="542722" cy="34722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25A1159B-BC54-700F-EB89-4BFE533C2045}"/>
                </a:ext>
              </a:extLst>
            </p:cNvPr>
            <p:cNvSpPr/>
            <p:nvPr/>
          </p:nvSpPr>
          <p:spPr>
            <a:xfrm>
              <a:off x="4932590" y="1206756"/>
              <a:ext cx="91330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36F706F-1350-7971-E7ED-2F0E03BD330D}"/>
              </a:ext>
            </a:extLst>
          </p:cNvPr>
          <p:cNvGrpSpPr/>
          <p:nvPr/>
        </p:nvGrpSpPr>
        <p:grpSpPr>
          <a:xfrm>
            <a:off x="11460287" y="1160890"/>
            <a:ext cx="731713" cy="850198"/>
            <a:chOff x="6506511" y="1227259"/>
            <a:chExt cx="731713" cy="850198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18BE1376-FC59-16CC-5BA4-9D975E6D279F}"/>
                </a:ext>
              </a:extLst>
            </p:cNvPr>
            <p:cNvSpPr/>
            <p:nvPr/>
          </p:nvSpPr>
          <p:spPr>
            <a:xfrm>
              <a:off x="7043416" y="1227259"/>
              <a:ext cx="194808" cy="17492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A1637EA2-F1C8-1FAC-0082-25BEC74E9646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6831114" y="1402188"/>
              <a:ext cx="309706" cy="38779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31B79FB6-013B-EFF6-8F05-0FA64A8771CF}"/>
                </a:ext>
              </a:extLst>
            </p:cNvPr>
            <p:cNvSpPr/>
            <p:nvPr/>
          </p:nvSpPr>
          <p:spPr>
            <a:xfrm>
              <a:off x="6506511" y="1789985"/>
              <a:ext cx="5994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0AF6782-4948-07FD-2706-4B509626794B}"/>
              </a:ext>
            </a:extLst>
          </p:cNvPr>
          <p:cNvGrpSpPr/>
          <p:nvPr/>
        </p:nvGrpSpPr>
        <p:grpSpPr>
          <a:xfrm>
            <a:off x="233249" y="2826748"/>
            <a:ext cx="2918942" cy="2716738"/>
            <a:chOff x="4088997" y="2158819"/>
            <a:chExt cx="2918942" cy="2716738"/>
          </a:xfrm>
        </p:grpSpPr>
        <p:sp>
          <p:nvSpPr>
            <p:cNvPr id="99" name="Google Shape;229;g370fc456c4b_0_4">
              <a:extLst>
                <a:ext uri="{FF2B5EF4-FFF2-40B4-BE49-F238E27FC236}">
                  <a16:creationId xmlns:a16="http://schemas.microsoft.com/office/drawing/2014/main" id="{51C62539-7A12-0EC0-C8CE-DF38319DE4DF}"/>
                </a:ext>
              </a:extLst>
            </p:cNvPr>
            <p:cNvSpPr/>
            <p:nvPr/>
          </p:nvSpPr>
          <p:spPr>
            <a:xfrm>
              <a:off x="5536317" y="2158819"/>
              <a:ext cx="1471622" cy="27167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0" name="Google Shape;230;g370fc456c4b_0_4">
              <a:extLst>
                <a:ext uri="{FF2B5EF4-FFF2-40B4-BE49-F238E27FC236}">
                  <a16:creationId xmlns:a16="http://schemas.microsoft.com/office/drawing/2014/main" id="{783034B2-39AD-672C-1250-5AAB5C902A85}"/>
                </a:ext>
              </a:extLst>
            </p:cNvPr>
            <p:cNvCxnSpPr>
              <a:cxnSpLocks/>
              <a:endCxn id="99" idx="1"/>
            </p:cNvCxnSpPr>
            <p:nvPr/>
          </p:nvCxnSpPr>
          <p:spPr>
            <a:xfrm>
              <a:off x="5225076" y="3517188"/>
              <a:ext cx="31124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227257C0-A0A9-1FDE-7EB6-3D559F851F50}"/>
                </a:ext>
              </a:extLst>
            </p:cNvPr>
            <p:cNvSpPr/>
            <p:nvPr/>
          </p:nvSpPr>
          <p:spPr>
            <a:xfrm>
              <a:off x="4088997" y="3373452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B24A8A5-39A8-B571-5685-579D12237CB2}"/>
              </a:ext>
            </a:extLst>
          </p:cNvPr>
          <p:cNvGrpSpPr/>
          <p:nvPr/>
        </p:nvGrpSpPr>
        <p:grpSpPr>
          <a:xfrm>
            <a:off x="560541" y="4959201"/>
            <a:ext cx="1361402" cy="287472"/>
            <a:chOff x="5355110" y="3931783"/>
            <a:chExt cx="1361402" cy="287472"/>
          </a:xfrm>
        </p:grpSpPr>
        <p:sp>
          <p:nvSpPr>
            <p:cNvPr id="107" name="Google Shape;229;g370fc456c4b_0_4">
              <a:extLst>
                <a:ext uri="{FF2B5EF4-FFF2-40B4-BE49-F238E27FC236}">
                  <a16:creationId xmlns:a16="http://schemas.microsoft.com/office/drawing/2014/main" id="{F8338C42-C7F4-3DB5-BC74-9565DF8B183C}"/>
                </a:ext>
              </a:extLst>
            </p:cNvPr>
            <p:cNvSpPr/>
            <p:nvPr/>
          </p:nvSpPr>
          <p:spPr>
            <a:xfrm>
              <a:off x="6480817" y="3994468"/>
              <a:ext cx="235695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8" name="Google Shape;230;g370fc456c4b_0_4">
              <a:extLst>
                <a:ext uri="{FF2B5EF4-FFF2-40B4-BE49-F238E27FC236}">
                  <a16:creationId xmlns:a16="http://schemas.microsoft.com/office/drawing/2014/main" id="{8CDE9442-D2B7-5ED6-4D48-E505944CA080}"/>
                </a:ext>
              </a:extLst>
            </p:cNvPr>
            <p:cNvCxnSpPr>
              <a:cxnSpLocks/>
              <a:endCxn id="107" idx="1"/>
            </p:cNvCxnSpPr>
            <p:nvPr/>
          </p:nvCxnSpPr>
          <p:spPr>
            <a:xfrm>
              <a:off x="6163897" y="4084914"/>
              <a:ext cx="316920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32FB443-A3B7-1C05-67A1-F2D1B8CCF964}"/>
                </a:ext>
              </a:extLst>
            </p:cNvPr>
            <p:cNvSpPr/>
            <p:nvPr/>
          </p:nvSpPr>
          <p:spPr>
            <a:xfrm>
              <a:off x="5355110" y="3931783"/>
              <a:ext cx="80878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990B4F6-5B9D-07EB-052D-5FAC78714AE6}"/>
              </a:ext>
            </a:extLst>
          </p:cNvPr>
          <p:cNvGrpSpPr/>
          <p:nvPr/>
        </p:nvGrpSpPr>
        <p:grpSpPr>
          <a:xfrm>
            <a:off x="233249" y="5021886"/>
            <a:ext cx="2086760" cy="1116566"/>
            <a:chOff x="4800968" y="3994468"/>
            <a:chExt cx="2086760" cy="1116566"/>
          </a:xfrm>
        </p:grpSpPr>
        <p:sp>
          <p:nvSpPr>
            <p:cNvPr id="115" name="Google Shape;229;g370fc456c4b_0_4">
              <a:extLst>
                <a:ext uri="{FF2B5EF4-FFF2-40B4-BE49-F238E27FC236}">
                  <a16:creationId xmlns:a16="http://schemas.microsoft.com/office/drawing/2014/main" id="{2EB979C8-4EC6-38F7-211A-B788E3ADB95E}"/>
                </a:ext>
              </a:extLst>
            </p:cNvPr>
            <p:cNvSpPr/>
            <p:nvPr/>
          </p:nvSpPr>
          <p:spPr>
            <a:xfrm>
              <a:off x="6480817" y="3994468"/>
              <a:ext cx="40691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6" name="Google Shape;230;g370fc456c4b_0_4">
              <a:extLst>
                <a:ext uri="{FF2B5EF4-FFF2-40B4-BE49-F238E27FC236}">
                  <a16:creationId xmlns:a16="http://schemas.microsoft.com/office/drawing/2014/main" id="{ECCDED2F-FE22-C493-C62F-B7A782C9D9CE}"/>
                </a:ext>
              </a:extLst>
            </p:cNvPr>
            <p:cNvCxnSpPr>
              <a:cxnSpLocks/>
              <a:endCxn id="115" idx="2"/>
            </p:cNvCxnSpPr>
            <p:nvPr/>
          </p:nvCxnSpPr>
          <p:spPr>
            <a:xfrm flipV="1">
              <a:off x="6163897" y="4175360"/>
              <a:ext cx="520376" cy="6482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4175C07B-1B2A-D81A-1936-14157C8E3A56}"/>
                </a:ext>
              </a:extLst>
            </p:cNvPr>
            <p:cNvSpPr/>
            <p:nvPr/>
          </p:nvSpPr>
          <p:spPr>
            <a:xfrm>
              <a:off x="4800968" y="4823562"/>
              <a:ext cx="138906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D87FC9A-1ABF-4489-327E-C2F0A983CB7D}"/>
              </a:ext>
            </a:extLst>
          </p:cNvPr>
          <p:cNvGrpSpPr/>
          <p:nvPr/>
        </p:nvGrpSpPr>
        <p:grpSpPr>
          <a:xfrm>
            <a:off x="3171625" y="2185639"/>
            <a:ext cx="2264773" cy="415556"/>
            <a:chOff x="4481275" y="3994468"/>
            <a:chExt cx="2264773" cy="415556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A493BBC2-C7EA-3618-2B14-A342E30C62ED}"/>
                </a:ext>
              </a:extLst>
            </p:cNvPr>
            <p:cNvSpPr/>
            <p:nvPr/>
          </p:nvSpPr>
          <p:spPr>
            <a:xfrm>
              <a:off x="6480817" y="3994468"/>
              <a:ext cx="2652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FF155E9B-67EA-9AC9-BD13-AC285163FD3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 flipV="1">
              <a:off x="6039714" y="4084914"/>
              <a:ext cx="441103" cy="1813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EFFD446-9014-0FF6-6ED1-73DB246BD4F9}"/>
                </a:ext>
              </a:extLst>
            </p:cNvPr>
            <p:cNvSpPr/>
            <p:nvPr/>
          </p:nvSpPr>
          <p:spPr>
            <a:xfrm>
              <a:off x="4481275" y="4122552"/>
              <a:ext cx="155843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rredBo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602</TotalTime>
  <Words>4918</Words>
  <Application>Microsoft Office PowerPoint</Application>
  <PresentationFormat>Widescreen</PresentationFormat>
  <Paragraphs>804</Paragraphs>
  <Slides>49</Slides>
  <Notes>31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4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Presentation on Trello Functionalities</vt:lpstr>
      <vt:lpstr>Agenda</vt:lpstr>
      <vt:lpstr>INTRODUCTION</vt:lpstr>
      <vt:lpstr>Introduction</vt:lpstr>
      <vt:lpstr>Key Functionalities</vt:lpstr>
      <vt:lpstr>Key Functionalities </vt:lpstr>
      <vt:lpstr>BOARDS TAB SCREEN</vt:lpstr>
      <vt:lpstr>USER SCREEN</vt:lpstr>
      <vt:lpstr>WORKSPACE CREATE SCREEN</vt:lpstr>
      <vt:lpstr>WORKSPACE SCREEN</vt:lpstr>
      <vt:lpstr>BOARD CREATE SCREEN</vt:lpstr>
      <vt:lpstr>WORKSPACE, BOARD, USER RELATIONSHIP</vt:lpstr>
      <vt:lpstr>BOARD SCREEN</vt:lpstr>
      <vt:lpstr>WORKSPACE, BOARD, STAGE, CARD RELATIONSHIP</vt:lpstr>
      <vt:lpstr>CARD SCREEN</vt:lpstr>
      <vt:lpstr>CARD, LABEL, COMMENT, COLOR RELATIONSHIP</vt:lpstr>
      <vt:lpstr>CARD SCREEN</vt:lpstr>
      <vt:lpstr>CARD SCREEN</vt:lpstr>
      <vt:lpstr>CARD, CUSTOMFIELD, CHECKLIST RELATIONSHIP</vt:lpstr>
      <vt:lpstr>BOARD SCREEN</vt:lpstr>
      <vt:lpstr>WORKSPACE MEMBER SCREEN</vt:lpstr>
      <vt:lpstr>BOARD MEMBER SCREEN</vt:lpstr>
      <vt:lpstr>MEMBER, ROLEPERMISSION, SHARELINK RELATIONSHIP</vt:lpstr>
      <vt:lpstr>CARD MEMBER SCREEN</vt:lpstr>
      <vt:lpstr>WORKSPACE, BOARD, CARD, MEMBER RELATIONSHIP</vt:lpstr>
      <vt:lpstr>SETTINGS SCREEN</vt:lpstr>
      <vt:lpstr>WORKSPACE, BOARD, CARD, SETTING RELATIONSHIP</vt:lpstr>
      <vt:lpstr>TEMPLATE SCREEN</vt:lpstr>
      <vt:lpstr>TEMPLATE SCREEN</vt:lpstr>
      <vt:lpstr>BOARD, TEMPLATE, USER RELATIONSHIP</vt:lpstr>
      <vt:lpstr>BOARD COLLECTION SCREEN</vt:lpstr>
      <vt:lpstr>BOARD, COLLECTION RELATIONSHIP</vt:lpstr>
      <vt:lpstr>CARD STICKER SCREEN</vt:lpstr>
      <vt:lpstr>CARD AND STICKER RELATIONSHIP</vt:lpstr>
      <vt:lpstr>NOTIFICATION SCREEN</vt:lpstr>
      <vt:lpstr>NOTIFICATION, ACTIVITY RELATIONSHIP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194</cp:revision>
  <dcterms:created xsi:type="dcterms:W3CDTF">2025-07-10T03:51:23Z</dcterms:created>
  <dcterms:modified xsi:type="dcterms:W3CDTF">2025-08-11T04:59:40Z</dcterms:modified>
</cp:coreProperties>
</file>